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807" r:id="rId2"/>
    <p:sldId id="1129" r:id="rId3"/>
    <p:sldId id="1136" r:id="rId4"/>
    <p:sldId id="1128" r:id="rId5"/>
    <p:sldId id="1079" r:id="rId6"/>
    <p:sldId id="1058" r:id="rId7"/>
    <p:sldId id="1055" r:id="rId8"/>
    <p:sldId id="1059" r:id="rId9"/>
    <p:sldId id="1061" r:id="rId10"/>
    <p:sldId id="1063" r:id="rId11"/>
    <p:sldId id="1124" r:id="rId12"/>
    <p:sldId id="1125" r:id="rId13"/>
    <p:sldId id="1126" r:id="rId14"/>
    <p:sldId id="1127" r:id="rId15"/>
    <p:sldId id="1137" r:id="rId16"/>
    <p:sldId id="1135" r:id="rId17"/>
    <p:sldId id="1088" r:id="rId18"/>
  </p:sldIdLst>
  <p:sldSz cx="11880850" cy="7164388"/>
  <p:notesSz cx="6797675" cy="9926638"/>
  <p:defaultTextStyle>
    <a:defPPr>
      <a:defRPr lang="ru-RU"/>
    </a:defPPr>
    <a:lvl1pPr marL="0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284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569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3853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137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422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7706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8990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275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57">
          <p15:clr>
            <a:srgbClr val="A4A3A4"/>
          </p15:clr>
        </p15:guide>
        <p15:guide id="2" pos="37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lena" initials="E" lastIdx="4" clrIdx="0"/>
  <p:cmAuthor id="1" name="Asus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FFFF99"/>
    <a:srgbClr val="FFFFCC"/>
    <a:srgbClr val="FF9900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9775" autoAdjust="0"/>
    <p:restoredTop sz="94058" autoAdjust="0"/>
  </p:normalViewPr>
  <p:slideViewPr>
    <p:cSldViewPr>
      <p:cViewPr varScale="1">
        <p:scale>
          <a:sx n="79" d="100"/>
          <a:sy n="79" d="100"/>
        </p:scale>
        <p:origin x="-1134" y="-90"/>
      </p:cViewPr>
      <p:guideLst>
        <p:guide orient="horz" pos="2257"/>
        <p:guide pos="374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>
        <p:scale>
          <a:sx n="66" d="100"/>
          <a:sy n="66" d="100"/>
        </p:scale>
        <p:origin x="-3264" y="-7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C1326E0-CFA6-41AF-B03A-D0F53EAB257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D537BF9-5544-4095-98EE-AC33D710DA7C}">
      <dgm:prSet phldrT="[Текст]" custT="1"/>
      <dgm:spPr>
        <a:solidFill>
          <a:srgbClr val="FFCCFF"/>
        </a:solidFill>
      </dgm:spPr>
      <dgm:t>
        <a:bodyPr/>
        <a:lstStyle/>
        <a:p>
          <a:r>
            <a:rPr lang="ru-RU" sz="2000" b="1" dirty="0">
              <a:latin typeface="Arial" panose="020B0604020202020204" pitchFamily="34" charset="0"/>
              <a:cs typeface="Arial" panose="020B0604020202020204" pitchFamily="34" charset="0"/>
            </a:rPr>
            <a:t>Содержательная область</a:t>
          </a:r>
        </a:p>
      </dgm:t>
    </dgm:pt>
    <dgm:pt modelId="{385FB662-EAB5-4C36-8EF5-F83D58B24278}" type="parTrans" cxnId="{BEEE87B5-E806-4091-B2BB-D501E3737A7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6A8FA8B-4961-43D7-B6D2-6D13F9F96F10}" type="sibTrans" cxnId="{BEEE87B5-E806-4091-B2BB-D501E3737A7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75DEF4F-36B5-4893-85E1-60C4964DA234}">
      <dgm:prSet phldrT="[Текст]" custT="1"/>
      <dgm:spPr>
        <a:solidFill>
          <a:srgbClr val="FF0000">
            <a:alpha val="50000"/>
          </a:srgbClr>
        </a:solidFill>
      </dgm:spPr>
      <dgm:t>
        <a:bodyPr/>
        <a:lstStyle/>
        <a:p>
          <a:pPr marL="900000"/>
          <a:r>
            <a:rPr lang="ru-RU" sz="2000" b="1" dirty="0">
              <a:latin typeface="Arial" panose="020B0604020202020204" pitchFamily="34" charset="0"/>
              <a:cs typeface="Arial" panose="020B0604020202020204" pitchFamily="34" charset="0"/>
            </a:rPr>
            <a:t>Контексты/ ситуации</a:t>
          </a:r>
        </a:p>
      </dgm:t>
    </dgm:pt>
    <dgm:pt modelId="{DCA71657-8931-430D-AEC2-46E46540845F}" type="parTrans" cxnId="{437FDFA8-B9D9-4E02-A353-CABC00470107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9790EB3-E407-4AA3-ACA0-75A60FB1AFD8}" type="sibTrans" cxnId="{437FDFA8-B9D9-4E02-A353-CABC00470107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7B42553-4854-4EA4-83F3-B3E002F97E11}">
      <dgm:prSet phldrT="[Текст]" custT="1"/>
      <dgm:spPr>
        <a:solidFill>
          <a:schemeClr val="accent5">
            <a:lumMod val="75000"/>
            <a:alpha val="50000"/>
          </a:schemeClr>
        </a:solidFill>
      </dgm:spPr>
      <dgm:t>
        <a:bodyPr/>
        <a:lstStyle/>
        <a:p>
          <a:r>
            <a:rPr lang="ru-RU" sz="2000" b="1" dirty="0" err="1">
              <a:latin typeface="Arial" panose="020B0604020202020204" pitchFamily="34" charset="0"/>
              <a:cs typeface="Arial" panose="020B0604020202020204" pitchFamily="34" charset="0"/>
            </a:rPr>
            <a:t>Компетентностная</a:t>
          </a:r>
          <a:r>
            <a:rPr lang="ru-RU" sz="2000" b="1" dirty="0">
              <a:latin typeface="Arial" panose="020B0604020202020204" pitchFamily="34" charset="0"/>
              <a:cs typeface="Arial" panose="020B0604020202020204" pitchFamily="34" charset="0"/>
            </a:rPr>
            <a:t> область</a:t>
          </a:r>
        </a:p>
      </dgm:t>
    </dgm:pt>
    <dgm:pt modelId="{6DB62CB8-0893-428C-A3ED-0DC761E973D5}" type="parTrans" cxnId="{95BB51AF-9418-464A-ADE3-6D6F105DB40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E9BDF2D-BAA4-46A0-A585-30F0B780E85B}" type="sibTrans" cxnId="{95BB51AF-9418-464A-ADE3-6D6F105DB40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088230E-7EE5-4F33-AC3E-0356B3364B66}" type="pres">
      <dgm:prSet presAssocID="{8C1326E0-CFA6-41AF-B03A-D0F53EAB2578}" presName="compositeShape" presStyleCnt="0">
        <dgm:presLayoutVars>
          <dgm:chMax val="7"/>
          <dgm:dir/>
          <dgm:resizeHandles val="exact"/>
        </dgm:presLayoutVars>
      </dgm:prSet>
      <dgm:spPr/>
    </dgm:pt>
    <dgm:pt modelId="{9EA5165E-67D6-4469-863A-842734A92BAB}" type="pres">
      <dgm:prSet presAssocID="{AD537BF9-5544-4095-98EE-AC33D710DA7C}" presName="circ1" presStyleLbl="vennNode1" presStyleIdx="0" presStyleCnt="3" custScaleX="142546" custScaleY="113555" custLinFactNeighborX="18825" custLinFactNeighborY="-4368"/>
      <dgm:spPr/>
    </dgm:pt>
    <dgm:pt modelId="{EA169432-8591-43B8-BE4B-CC2CF38892DA}" type="pres">
      <dgm:prSet presAssocID="{AD537BF9-5544-4095-98EE-AC33D710DA7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22BCF64A-6A02-4793-A6ED-DED440A18AE6}" type="pres">
      <dgm:prSet presAssocID="{775DEF4F-36B5-4893-85E1-60C4964DA234}" presName="circ2" presStyleLbl="vennNode1" presStyleIdx="1" presStyleCnt="3" custScaleX="159272" custScaleY="113555" custLinFactNeighborX="2162" custLinFactNeighborY="1853"/>
      <dgm:spPr/>
    </dgm:pt>
    <dgm:pt modelId="{0DEB0D55-9FE7-4865-AEA2-E1911BA25DCA}" type="pres">
      <dgm:prSet presAssocID="{775DEF4F-36B5-4893-85E1-60C4964DA234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4EECC0DA-4D37-41D6-AC54-4EFAD6D48CD5}" type="pres">
      <dgm:prSet presAssocID="{87B42553-4854-4EA4-83F3-B3E002F97E11}" presName="circ3" presStyleLbl="vennNode1" presStyleIdx="2" presStyleCnt="3" custScaleX="163503" custScaleY="113555" custLinFactNeighborX="-1650" custLinFactNeighborY="-3210"/>
      <dgm:spPr/>
    </dgm:pt>
    <dgm:pt modelId="{731D2D39-E1BD-4195-A764-DF6016C51A6C}" type="pres">
      <dgm:prSet presAssocID="{87B42553-4854-4EA4-83F3-B3E002F97E11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2B2B9704-8353-4208-A1B2-C1EF879BD683}" type="presOf" srcId="{87B42553-4854-4EA4-83F3-B3E002F97E11}" destId="{731D2D39-E1BD-4195-A764-DF6016C51A6C}" srcOrd="1" destOrd="0" presId="urn:microsoft.com/office/officeart/2005/8/layout/venn1"/>
    <dgm:cxn modelId="{155D8B1B-7131-41B6-921F-5FF004A171DA}" type="presOf" srcId="{8C1326E0-CFA6-41AF-B03A-D0F53EAB2578}" destId="{2088230E-7EE5-4F33-AC3E-0356B3364B66}" srcOrd="0" destOrd="0" presId="urn:microsoft.com/office/officeart/2005/8/layout/venn1"/>
    <dgm:cxn modelId="{901B2B2B-3FE1-4214-9D00-58D7D6EDE5EA}" type="presOf" srcId="{AD537BF9-5544-4095-98EE-AC33D710DA7C}" destId="{EA169432-8591-43B8-BE4B-CC2CF38892DA}" srcOrd="1" destOrd="0" presId="urn:microsoft.com/office/officeart/2005/8/layout/venn1"/>
    <dgm:cxn modelId="{B9C8088D-1730-4FDA-BF98-A3E016815293}" type="presOf" srcId="{775DEF4F-36B5-4893-85E1-60C4964DA234}" destId="{0DEB0D55-9FE7-4865-AEA2-E1911BA25DCA}" srcOrd="1" destOrd="0" presId="urn:microsoft.com/office/officeart/2005/8/layout/venn1"/>
    <dgm:cxn modelId="{E0BC9FA6-4137-4BBE-A2EC-968390BC5B91}" type="presOf" srcId="{775DEF4F-36B5-4893-85E1-60C4964DA234}" destId="{22BCF64A-6A02-4793-A6ED-DED440A18AE6}" srcOrd="0" destOrd="0" presId="urn:microsoft.com/office/officeart/2005/8/layout/venn1"/>
    <dgm:cxn modelId="{437FDFA8-B9D9-4E02-A353-CABC00470107}" srcId="{8C1326E0-CFA6-41AF-B03A-D0F53EAB2578}" destId="{775DEF4F-36B5-4893-85E1-60C4964DA234}" srcOrd="1" destOrd="0" parTransId="{DCA71657-8931-430D-AEC2-46E46540845F}" sibTransId="{E9790EB3-E407-4AA3-ACA0-75A60FB1AFD8}"/>
    <dgm:cxn modelId="{95BB51AF-9418-464A-ADE3-6D6F105DB409}" srcId="{8C1326E0-CFA6-41AF-B03A-D0F53EAB2578}" destId="{87B42553-4854-4EA4-83F3-B3E002F97E11}" srcOrd="2" destOrd="0" parTransId="{6DB62CB8-0893-428C-A3ED-0DC761E973D5}" sibTransId="{1E9BDF2D-BAA4-46A0-A585-30F0B780E85B}"/>
    <dgm:cxn modelId="{BEEE87B5-E806-4091-B2BB-D501E3737A79}" srcId="{8C1326E0-CFA6-41AF-B03A-D0F53EAB2578}" destId="{AD537BF9-5544-4095-98EE-AC33D710DA7C}" srcOrd="0" destOrd="0" parTransId="{385FB662-EAB5-4C36-8EF5-F83D58B24278}" sibTransId="{06A8FA8B-4961-43D7-B6D2-6D13F9F96F10}"/>
    <dgm:cxn modelId="{45D856BD-3232-4BB1-8B77-9EA3EA6B2A24}" type="presOf" srcId="{AD537BF9-5544-4095-98EE-AC33D710DA7C}" destId="{9EA5165E-67D6-4469-863A-842734A92BAB}" srcOrd="0" destOrd="0" presId="urn:microsoft.com/office/officeart/2005/8/layout/venn1"/>
    <dgm:cxn modelId="{07AD77D1-6BCC-4801-BECE-9398656CAA7B}" type="presOf" srcId="{87B42553-4854-4EA4-83F3-B3E002F97E11}" destId="{4EECC0DA-4D37-41D6-AC54-4EFAD6D48CD5}" srcOrd="0" destOrd="0" presId="urn:microsoft.com/office/officeart/2005/8/layout/venn1"/>
    <dgm:cxn modelId="{0E6799D2-F7A8-45C3-BD50-59AA6FC441FF}" type="presParOf" srcId="{2088230E-7EE5-4F33-AC3E-0356B3364B66}" destId="{9EA5165E-67D6-4469-863A-842734A92BAB}" srcOrd="0" destOrd="0" presId="urn:microsoft.com/office/officeart/2005/8/layout/venn1"/>
    <dgm:cxn modelId="{F8771182-44A3-416F-B4DB-418E85A797B2}" type="presParOf" srcId="{2088230E-7EE5-4F33-AC3E-0356B3364B66}" destId="{EA169432-8591-43B8-BE4B-CC2CF38892DA}" srcOrd="1" destOrd="0" presId="urn:microsoft.com/office/officeart/2005/8/layout/venn1"/>
    <dgm:cxn modelId="{514A0703-F7DD-4649-8D0C-E0F97983A458}" type="presParOf" srcId="{2088230E-7EE5-4F33-AC3E-0356B3364B66}" destId="{22BCF64A-6A02-4793-A6ED-DED440A18AE6}" srcOrd="2" destOrd="0" presId="urn:microsoft.com/office/officeart/2005/8/layout/venn1"/>
    <dgm:cxn modelId="{81023EB2-E663-47C7-877A-BAAA2CD4464C}" type="presParOf" srcId="{2088230E-7EE5-4F33-AC3E-0356B3364B66}" destId="{0DEB0D55-9FE7-4865-AEA2-E1911BA25DCA}" srcOrd="3" destOrd="0" presId="urn:microsoft.com/office/officeart/2005/8/layout/venn1"/>
    <dgm:cxn modelId="{6CE18D32-D0CF-448B-8E8C-B82A789F10D9}" type="presParOf" srcId="{2088230E-7EE5-4F33-AC3E-0356B3364B66}" destId="{4EECC0DA-4D37-41D6-AC54-4EFAD6D48CD5}" srcOrd="4" destOrd="0" presId="urn:microsoft.com/office/officeart/2005/8/layout/venn1"/>
    <dgm:cxn modelId="{082297D7-83DA-4680-90A9-93CE40C5F75E}" type="presParOf" srcId="{2088230E-7EE5-4F33-AC3E-0356B3364B66}" destId="{731D2D39-E1BD-4195-A764-DF6016C51A6C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8CBEDB4-5D71-4799-A01C-091E7100446A}" type="doc">
      <dgm:prSet loTypeId="urn:microsoft.com/office/officeart/2005/8/layout/vList4#2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13352562-92BF-4E69-A2A3-64AA80F5679E}">
      <dgm:prSet phldrT="[Текст]" custT="1"/>
      <dgm:spPr/>
      <dgm:t>
        <a:bodyPr/>
        <a:lstStyle/>
        <a:p>
          <a:pPr>
            <a:lnSpc>
              <a:spcPct val="50000"/>
            </a:lnSpc>
            <a:spcAft>
              <a:spcPts val="0"/>
            </a:spcAft>
          </a:pPr>
          <a:r>
            <a:rPr lang="ru-RU" sz="1600" dirty="0"/>
            <a:t>Формулировать   </a:t>
          </a:r>
        </a:p>
        <a:p>
          <a:pPr>
            <a:lnSpc>
              <a:spcPct val="50000"/>
            </a:lnSpc>
            <a:spcAft>
              <a:spcPts val="0"/>
            </a:spcAft>
          </a:pPr>
          <a:r>
            <a:rPr lang="ru-RU" sz="1600" dirty="0"/>
            <a:t>                                             Применять</a:t>
          </a:r>
        </a:p>
        <a:p>
          <a:pPr>
            <a:lnSpc>
              <a:spcPct val="50000"/>
            </a:lnSpc>
            <a:spcAft>
              <a:spcPts val="0"/>
            </a:spcAft>
          </a:pPr>
          <a:r>
            <a:rPr lang="ru-RU" sz="1600" dirty="0"/>
            <a:t> Рассуждать</a:t>
          </a:r>
        </a:p>
        <a:p>
          <a:pPr>
            <a:lnSpc>
              <a:spcPct val="50000"/>
            </a:lnSpc>
            <a:spcAft>
              <a:spcPts val="0"/>
            </a:spcAft>
          </a:pPr>
          <a:r>
            <a:rPr lang="ru-RU" sz="1600" dirty="0"/>
            <a:t>                                             Интерпретировать</a:t>
          </a:r>
        </a:p>
      </dgm:t>
    </dgm:pt>
    <dgm:pt modelId="{283A07AE-0D45-4FD8-B2AF-135D9D64AF46}" type="parTrans" cxnId="{52B40051-B869-4742-BFE4-6DA87F6980C2}">
      <dgm:prSet/>
      <dgm:spPr/>
      <dgm:t>
        <a:bodyPr/>
        <a:lstStyle/>
        <a:p>
          <a:endParaRPr lang="ru-RU"/>
        </a:p>
      </dgm:t>
    </dgm:pt>
    <dgm:pt modelId="{77DFF5B7-264C-4569-8DF9-3646CC3DEBB9}" type="sibTrans" cxnId="{52B40051-B869-4742-BFE4-6DA87F6980C2}">
      <dgm:prSet/>
      <dgm:spPr/>
      <dgm:t>
        <a:bodyPr/>
        <a:lstStyle/>
        <a:p>
          <a:endParaRPr lang="ru-RU"/>
        </a:p>
      </dgm:t>
    </dgm:pt>
    <dgm:pt modelId="{0AD723AC-09DF-4486-A78C-5F966962D1F8}">
      <dgm:prSet phldrT="[Текст]" custT="1"/>
      <dgm:spPr/>
      <dgm:t>
        <a:bodyPr/>
        <a:lstStyle/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Находить и извлекать информацию</a:t>
          </a:r>
        </a:p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                                                                               Интегрировать и интерпретировать информацию</a:t>
          </a:r>
        </a:p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Оценивать содержание и форму текста</a:t>
          </a:r>
        </a:p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                                                                                Использовать информацию из текста</a:t>
          </a:r>
        </a:p>
      </dgm:t>
    </dgm:pt>
    <dgm:pt modelId="{CE9E8120-A024-4471-A965-1C0F216458F9}" type="parTrans" cxnId="{7D984984-D1FF-4977-BC10-6C3480B78490}">
      <dgm:prSet/>
      <dgm:spPr/>
      <dgm:t>
        <a:bodyPr/>
        <a:lstStyle/>
        <a:p>
          <a:endParaRPr lang="ru-RU"/>
        </a:p>
      </dgm:t>
    </dgm:pt>
    <dgm:pt modelId="{36A9F640-2702-48DA-A665-1A1369F909B4}" type="sibTrans" cxnId="{7D984984-D1FF-4977-BC10-6C3480B78490}">
      <dgm:prSet/>
      <dgm:spPr/>
      <dgm:t>
        <a:bodyPr/>
        <a:lstStyle/>
        <a:p>
          <a:endParaRPr lang="ru-RU"/>
        </a:p>
      </dgm:t>
    </dgm:pt>
    <dgm:pt modelId="{1823F5F9-5448-40CC-8633-C6A9135C82AC}">
      <dgm:prSet phldrT="[Текст]" custT="1"/>
      <dgm:spPr/>
      <dgm:t>
        <a:bodyPr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ru-RU" sz="1600" dirty="0"/>
            <a:t>Научное объяснение явлений</a:t>
          </a:r>
        </a:p>
        <a:p>
          <a:pPr>
            <a:lnSpc>
              <a:spcPct val="80000"/>
            </a:lnSpc>
            <a:spcAft>
              <a:spcPts val="0"/>
            </a:spcAft>
          </a:pPr>
          <a:r>
            <a:rPr lang="ru-RU" sz="1600" dirty="0"/>
            <a:t>Применение методов естественнонаучного исследования</a:t>
          </a:r>
        </a:p>
        <a:p>
          <a:pPr>
            <a:lnSpc>
              <a:spcPct val="80000"/>
            </a:lnSpc>
            <a:spcAft>
              <a:spcPts val="0"/>
            </a:spcAft>
          </a:pPr>
          <a:r>
            <a:rPr lang="ru-RU" sz="1600" dirty="0"/>
            <a:t>Интерпретация данных для получения выводов</a:t>
          </a:r>
        </a:p>
      </dgm:t>
    </dgm:pt>
    <dgm:pt modelId="{5AC984EA-1FD2-4F83-8B99-32758A45444D}" type="parTrans" cxnId="{D92DB7F9-223F-497F-924B-3F2B2B209DDC}">
      <dgm:prSet/>
      <dgm:spPr/>
      <dgm:t>
        <a:bodyPr/>
        <a:lstStyle/>
        <a:p>
          <a:endParaRPr lang="ru-RU"/>
        </a:p>
      </dgm:t>
    </dgm:pt>
    <dgm:pt modelId="{01A3A92F-497F-4BC1-A587-42F055DCD2D6}" type="sibTrans" cxnId="{D92DB7F9-223F-497F-924B-3F2B2B209DDC}">
      <dgm:prSet/>
      <dgm:spPr/>
      <dgm:t>
        <a:bodyPr/>
        <a:lstStyle/>
        <a:p>
          <a:endParaRPr lang="ru-RU"/>
        </a:p>
      </dgm:t>
    </dgm:pt>
    <dgm:pt modelId="{0D29B914-0556-428B-A3FE-9A8C53EE7A15}">
      <dgm:prSet custT="1"/>
      <dgm:spPr/>
      <dgm:t>
        <a:bodyPr/>
        <a:lstStyle/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Выявление финансовой информации</a:t>
          </a:r>
        </a:p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                                                                        Анализ информации в финансовом контексте</a:t>
          </a:r>
        </a:p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Оценка финансовой проблемы</a:t>
          </a:r>
        </a:p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                                                                       Применение финансовых знаний и понимания</a:t>
          </a:r>
        </a:p>
      </dgm:t>
    </dgm:pt>
    <dgm:pt modelId="{9E3264B3-256E-4500-904E-E7E50EC773CD}" type="parTrans" cxnId="{D5E1E07C-DD43-4F56-84E6-4108A7C6D839}">
      <dgm:prSet/>
      <dgm:spPr/>
      <dgm:t>
        <a:bodyPr/>
        <a:lstStyle/>
        <a:p>
          <a:endParaRPr lang="ru-RU"/>
        </a:p>
      </dgm:t>
    </dgm:pt>
    <dgm:pt modelId="{B8CD6B11-6605-4C17-BDB1-2C162820178B}" type="sibTrans" cxnId="{D5E1E07C-DD43-4F56-84E6-4108A7C6D839}">
      <dgm:prSet/>
      <dgm:spPr/>
      <dgm:t>
        <a:bodyPr/>
        <a:lstStyle/>
        <a:p>
          <a:endParaRPr lang="ru-RU"/>
        </a:p>
      </dgm:t>
    </dgm:pt>
    <dgm:pt modelId="{7DBD9EA0-9D99-4C3E-81F9-EFAEABE5A51F}">
      <dgm:prSet custT="1"/>
      <dgm:spPr/>
      <dgm:t>
        <a:bodyPr/>
        <a:lstStyle/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Выявлять мнения, подходы, перспективы</a:t>
          </a:r>
        </a:p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                                                                      Анализировать различные мнения, подходы, перспективы </a:t>
          </a:r>
        </a:p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Объяснять сложные ситуации и проблемы</a:t>
          </a:r>
        </a:p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                                                                                   Оценивать информацию</a:t>
          </a:r>
        </a:p>
      </dgm:t>
    </dgm:pt>
    <dgm:pt modelId="{5C6CE5CB-CF33-4184-A251-79D8E578B96D}" type="parTrans" cxnId="{64691E86-4486-414A-96DF-A48D1496C22F}">
      <dgm:prSet/>
      <dgm:spPr/>
      <dgm:t>
        <a:bodyPr/>
        <a:lstStyle/>
        <a:p>
          <a:endParaRPr lang="ru-RU"/>
        </a:p>
      </dgm:t>
    </dgm:pt>
    <dgm:pt modelId="{CD2A0C98-82D6-49E5-BAB9-68E2C2763D97}" type="sibTrans" cxnId="{64691E86-4486-414A-96DF-A48D1496C22F}">
      <dgm:prSet/>
      <dgm:spPr/>
      <dgm:t>
        <a:bodyPr/>
        <a:lstStyle/>
        <a:p>
          <a:endParaRPr lang="ru-RU"/>
        </a:p>
      </dgm:t>
    </dgm:pt>
    <dgm:pt modelId="{3F8472AA-8846-4410-A465-A9ED83577BEE}">
      <dgm:prSet custT="1"/>
      <dgm:spPr/>
      <dgm:t>
        <a:bodyPr/>
        <a:lstStyle/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Выдвижение разнообразных идей</a:t>
          </a:r>
        </a:p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                                                                    Отбор креативных идей</a:t>
          </a:r>
        </a:p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Доработка идеи</a:t>
          </a:r>
        </a:p>
        <a:p>
          <a:pPr>
            <a:lnSpc>
              <a:spcPct val="70000"/>
            </a:lnSpc>
            <a:spcAft>
              <a:spcPts val="0"/>
            </a:spcAft>
          </a:pPr>
          <a:r>
            <a:rPr lang="ru-RU" sz="1600" dirty="0"/>
            <a:t>                                                                    Выдвижение креативной идеи</a:t>
          </a:r>
        </a:p>
      </dgm:t>
    </dgm:pt>
    <dgm:pt modelId="{F76AEC26-C906-4239-A141-A22F351BB022}" type="parTrans" cxnId="{C474836C-5561-4F08-B37C-25088E4787B8}">
      <dgm:prSet/>
      <dgm:spPr/>
      <dgm:t>
        <a:bodyPr/>
        <a:lstStyle/>
        <a:p>
          <a:endParaRPr lang="ru-RU"/>
        </a:p>
      </dgm:t>
    </dgm:pt>
    <dgm:pt modelId="{729F37A1-07AC-4DAF-92FE-82A7CF86F2C4}" type="sibTrans" cxnId="{C474836C-5561-4F08-B37C-25088E4787B8}">
      <dgm:prSet/>
      <dgm:spPr/>
      <dgm:t>
        <a:bodyPr/>
        <a:lstStyle/>
        <a:p>
          <a:endParaRPr lang="ru-RU"/>
        </a:p>
      </dgm:t>
    </dgm:pt>
    <dgm:pt modelId="{0A025F1C-4AAE-45FC-A927-E3283CC25B48}" type="pres">
      <dgm:prSet presAssocID="{68CBEDB4-5D71-4799-A01C-091E7100446A}" presName="linear" presStyleCnt="0">
        <dgm:presLayoutVars>
          <dgm:dir/>
          <dgm:resizeHandles val="exact"/>
        </dgm:presLayoutVars>
      </dgm:prSet>
      <dgm:spPr/>
    </dgm:pt>
    <dgm:pt modelId="{9769F41A-2BBF-4AE9-92F3-74FF57001190}" type="pres">
      <dgm:prSet presAssocID="{13352562-92BF-4E69-A2A3-64AA80F5679E}" presName="comp" presStyleCnt="0"/>
      <dgm:spPr/>
    </dgm:pt>
    <dgm:pt modelId="{50722C34-A323-40C2-9C8C-134F1C1DCD6D}" type="pres">
      <dgm:prSet presAssocID="{13352562-92BF-4E69-A2A3-64AA80F5679E}" presName="box" presStyleLbl="node1" presStyleIdx="0" presStyleCnt="6" custLinFactNeighborX="-1851" custLinFactNeighborY="-11949"/>
      <dgm:spPr/>
    </dgm:pt>
    <dgm:pt modelId="{7AA692DF-EDC7-4E38-B472-B73043D265FE}" type="pres">
      <dgm:prSet presAssocID="{13352562-92BF-4E69-A2A3-64AA80F5679E}" presName="img" presStyleLbl="fgImgPlace1" presStyleIdx="0" presStyleCnt="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F1BC1648-FFF2-4BB9-9087-3175ECB7EB12}" type="pres">
      <dgm:prSet presAssocID="{13352562-92BF-4E69-A2A3-64AA80F5679E}" presName="text" presStyleLbl="node1" presStyleIdx="0" presStyleCnt="6">
        <dgm:presLayoutVars>
          <dgm:bulletEnabled val="1"/>
        </dgm:presLayoutVars>
      </dgm:prSet>
      <dgm:spPr/>
    </dgm:pt>
    <dgm:pt modelId="{70F12678-DFD0-49A0-B0C5-8BEF5DC9D08A}" type="pres">
      <dgm:prSet presAssocID="{77DFF5B7-264C-4569-8DF9-3646CC3DEBB9}" presName="spacer" presStyleCnt="0"/>
      <dgm:spPr/>
    </dgm:pt>
    <dgm:pt modelId="{6DABC0EB-A090-47C0-A93F-FA6D94E2F6CF}" type="pres">
      <dgm:prSet presAssocID="{0AD723AC-09DF-4486-A78C-5F966962D1F8}" presName="comp" presStyleCnt="0"/>
      <dgm:spPr/>
    </dgm:pt>
    <dgm:pt modelId="{276E4CA7-DED5-4188-AF17-83B4F5F56C08}" type="pres">
      <dgm:prSet presAssocID="{0AD723AC-09DF-4486-A78C-5F966962D1F8}" presName="box" presStyleLbl="node1" presStyleIdx="1" presStyleCnt="6"/>
      <dgm:spPr/>
    </dgm:pt>
    <dgm:pt modelId="{ADC99402-97F7-4AF8-BB31-4182A4E2A0C0}" type="pres">
      <dgm:prSet presAssocID="{0AD723AC-09DF-4486-A78C-5F966962D1F8}" presName="img" presStyleLbl="fgImgPlace1" presStyleIdx="1" presStyleCnt="6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AC3D2B41-714A-4D10-94B2-E1CA6456BCB6}" type="pres">
      <dgm:prSet presAssocID="{0AD723AC-09DF-4486-A78C-5F966962D1F8}" presName="text" presStyleLbl="node1" presStyleIdx="1" presStyleCnt="6">
        <dgm:presLayoutVars>
          <dgm:bulletEnabled val="1"/>
        </dgm:presLayoutVars>
      </dgm:prSet>
      <dgm:spPr/>
    </dgm:pt>
    <dgm:pt modelId="{65D3E07F-C39C-4A6F-B0C2-83875AB4F30B}" type="pres">
      <dgm:prSet presAssocID="{36A9F640-2702-48DA-A665-1A1369F909B4}" presName="spacer" presStyleCnt="0"/>
      <dgm:spPr/>
    </dgm:pt>
    <dgm:pt modelId="{FC6652D6-A39B-4149-B02D-3D3D3D55B6D4}" type="pres">
      <dgm:prSet presAssocID="{1823F5F9-5448-40CC-8633-C6A9135C82AC}" presName="comp" presStyleCnt="0"/>
      <dgm:spPr/>
    </dgm:pt>
    <dgm:pt modelId="{42AD0288-D823-4B5F-8F4C-628BADB5F2E3}" type="pres">
      <dgm:prSet presAssocID="{1823F5F9-5448-40CC-8633-C6A9135C82AC}" presName="box" presStyleLbl="node1" presStyleIdx="2" presStyleCnt="6"/>
      <dgm:spPr/>
    </dgm:pt>
    <dgm:pt modelId="{77A2D0BF-232B-4DD1-B42B-9FBAA613D2A6}" type="pres">
      <dgm:prSet presAssocID="{1823F5F9-5448-40CC-8633-C6A9135C82AC}" presName="img" presStyleLbl="fgImgPlace1" presStyleIdx="2" presStyleCnt="6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EC6BBB65-9E11-4B9A-A333-973E1C3E3312}" type="pres">
      <dgm:prSet presAssocID="{1823F5F9-5448-40CC-8633-C6A9135C82AC}" presName="text" presStyleLbl="node1" presStyleIdx="2" presStyleCnt="6">
        <dgm:presLayoutVars>
          <dgm:bulletEnabled val="1"/>
        </dgm:presLayoutVars>
      </dgm:prSet>
      <dgm:spPr/>
    </dgm:pt>
    <dgm:pt modelId="{2BEB9B13-D496-491D-8C17-1207E4D83F24}" type="pres">
      <dgm:prSet presAssocID="{01A3A92F-497F-4BC1-A587-42F055DCD2D6}" presName="spacer" presStyleCnt="0"/>
      <dgm:spPr/>
    </dgm:pt>
    <dgm:pt modelId="{B6BC5AEB-3167-4FB1-9754-38F21443BFA5}" type="pres">
      <dgm:prSet presAssocID="{0D29B914-0556-428B-A3FE-9A8C53EE7A15}" presName="comp" presStyleCnt="0"/>
      <dgm:spPr/>
    </dgm:pt>
    <dgm:pt modelId="{031BF10E-367D-4BFA-9655-86707F91BA7E}" type="pres">
      <dgm:prSet presAssocID="{0D29B914-0556-428B-A3FE-9A8C53EE7A15}" presName="box" presStyleLbl="node1" presStyleIdx="3" presStyleCnt="6"/>
      <dgm:spPr/>
    </dgm:pt>
    <dgm:pt modelId="{F82803CA-67BF-4942-A6FE-6DAFFADB7614}" type="pres">
      <dgm:prSet presAssocID="{0D29B914-0556-428B-A3FE-9A8C53EE7A15}" presName="img" presStyleLbl="fgImgPlace1" presStyleIdx="3" presStyleCnt="6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1026436D-0145-489D-86EE-25CA770D9492}" type="pres">
      <dgm:prSet presAssocID="{0D29B914-0556-428B-A3FE-9A8C53EE7A15}" presName="text" presStyleLbl="node1" presStyleIdx="3" presStyleCnt="6">
        <dgm:presLayoutVars>
          <dgm:bulletEnabled val="1"/>
        </dgm:presLayoutVars>
      </dgm:prSet>
      <dgm:spPr/>
    </dgm:pt>
    <dgm:pt modelId="{D3620787-AAE9-4345-AE44-E7E168B42C55}" type="pres">
      <dgm:prSet presAssocID="{B8CD6B11-6605-4C17-BDB1-2C162820178B}" presName="spacer" presStyleCnt="0"/>
      <dgm:spPr/>
    </dgm:pt>
    <dgm:pt modelId="{B2C2F03A-AC7E-4AA9-A426-085DEDB95612}" type="pres">
      <dgm:prSet presAssocID="{7DBD9EA0-9D99-4C3E-81F9-EFAEABE5A51F}" presName="comp" presStyleCnt="0"/>
      <dgm:spPr/>
    </dgm:pt>
    <dgm:pt modelId="{10A023E1-ECE4-455E-B528-CF658115F981}" type="pres">
      <dgm:prSet presAssocID="{7DBD9EA0-9D99-4C3E-81F9-EFAEABE5A51F}" presName="box" presStyleLbl="node1" presStyleIdx="4" presStyleCnt="6" custLinFactNeighborX="-104" custLinFactNeighborY="9414"/>
      <dgm:spPr/>
    </dgm:pt>
    <dgm:pt modelId="{5FBA27B3-2D9E-45FE-B4C6-5FAE9D11F1BF}" type="pres">
      <dgm:prSet presAssocID="{7DBD9EA0-9D99-4C3E-81F9-EFAEABE5A51F}" presName="img" presStyleLbl="fgImgPlace1" presStyleIdx="4" presStyleCnt="6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</dgm:pt>
    <dgm:pt modelId="{9FC5FF8C-AE73-479A-9F2A-54120409EED1}" type="pres">
      <dgm:prSet presAssocID="{7DBD9EA0-9D99-4C3E-81F9-EFAEABE5A51F}" presName="text" presStyleLbl="node1" presStyleIdx="4" presStyleCnt="6">
        <dgm:presLayoutVars>
          <dgm:bulletEnabled val="1"/>
        </dgm:presLayoutVars>
      </dgm:prSet>
      <dgm:spPr/>
    </dgm:pt>
    <dgm:pt modelId="{F0049994-8231-410C-B7B6-96A5B358DF06}" type="pres">
      <dgm:prSet presAssocID="{CD2A0C98-82D6-49E5-BAB9-68E2C2763D97}" presName="spacer" presStyleCnt="0"/>
      <dgm:spPr/>
    </dgm:pt>
    <dgm:pt modelId="{A14F77E3-861E-42AC-B70A-85C2219829ED}" type="pres">
      <dgm:prSet presAssocID="{3F8472AA-8846-4410-A465-A9ED83577BEE}" presName="comp" presStyleCnt="0"/>
      <dgm:spPr/>
    </dgm:pt>
    <dgm:pt modelId="{A281BC3A-1B79-48E5-A79E-456C999A45AC}" type="pres">
      <dgm:prSet presAssocID="{3F8472AA-8846-4410-A465-A9ED83577BEE}" presName="box" presStyleLbl="node1" presStyleIdx="5" presStyleCnt="6"/>
      <dgm:spPr/>
    </dgm:pt>
    <dgm:pt modelId="{A82FED41-F6DB-45F6-AFB9-A5B4067D2FA1}" type="pres">
      <dgm:prSet presAssocID="{3F8472AA-8846-4410-A465-A9ED83577BEE}" presName="img" presStyleLbl="fgImgPlace1" presStyleIdx="5" presStyleCnt="6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</dgm:pt>
    <dgm:pt modelId="{80799208-38D6-4413-BF85-8316F91E1433}" type="pres">
      <dgm:prSet presAssocID="{3F8472AA-8846-4410-A465-A9ED83577BEE}" presName="text" presStyleLbl="node1" presStyleIdx="5" presStyleCnt="6">
        <dgm:presLayoutVars>
          <dgm:bulletEnabled val="1"/>
        </dgm:presLayoutVars>
      </dgm:prSet>
      <dgm:spPr/>
    </dgm:pt>
  </dgm:ptLst>
  <dgm:cxnLst>
    <dgm:cxn modelId="{A54E6C02-587D-48E2-AB50-E058EED1B1C2}" type="presOf" srcId="{0AD723AC-09DF-4486-A78C-5F966962D1F8}" destId="{AC3D2B41-714A-4D10-94B2-E1CA6456BCB6}" srcOrd="1" destOrd="0" presId="urn:microsoft.com/office/officeart/2005/8/layout/vList4#2"/>
    <dgm:cxn modelId="{54164A09-10EC-4198-95D2-C0E064E1878C}" type="presOf" srcId="{7DBD9EA0-9D99-4C3E-81F9-EFAEABE5A51F}" destId="{9FC5FF8C-AE73-479A-9F2A-54120409EED1}" srcOrd="1" destOrd="0" presId="urn:microsoft.com/office/officeart/2005/8/layout/vList4#2"/>
    <dgm:cxn modelId="{9D349D17-0E84-4499-B786-03413C5E1BD7}" type="presOf" srcId="{68CBEDB4-5D71-4799-A01C-091E7100446A}" destId="{0A025F1C-4AAE-45FC-A927-E3283CC25B48}" srcOrd="0" destOrd="0" presId="urn:microsoft.com/office/officeart/2005/8/layout/vList4#2"/>
    <dgm:cxn modelId="{ACF4281D-CD28-42EF-AD17-01CB29AACD8B}" type="presOf" srcId="{13352562-92BF-4E69-A2A3-64AA80F5679E}" destId="{50722C34-A323-40C2-9C8C-134F1C1DCD6D}" srcOrd="0" destOrd="0" presId="urn:microsoft.com/office/officeart/2005/8/layout/vList4#2"/>
    <dgm:cxn modelId="{27CFF967-B89E-4B94-88DA-CC507FE87FCA}" type="presOf" srcId="{7DBD9EA0-9D99-4C3E-81F9-EFAEABE5A51F}" destId="{10A023E1-ECE4-455E-B528-CF658115F981}" srcOrd="0" destOrd="0" presId="urn:microsoft.com/office/officeart/2005/8/layout/vList4#2"/>
    <dgm:cxn modelId="{C474836C-5561-4F08-B37C-25088E4787B8}" srcId="{68CBEDB4-5D71-4799-A01C-091E7100446A}" destId="{3F8472AA-8846-4410-A465-A9ED83577BEE}" srcOrd="5" destOrd="0" parTransId="{F76AEC26-C906-4239-A141-A22F351BB022}" sibTransId="{729F37A1-07AC-4DAF-92FE-82A7CF86F2C4}"/>
    <dgm:cxn modelId="{52B40051-B869-4742-BFE4-6DA87F6980C2}" srcId="{68CBEDB4-5D71-4799-A01C-091E7100446A}" destId="{13352562-92BF-4E69-A2A3-64AA80F5679E}" srcOrd="0" destOrd="0" parTransId="{283A07AE-0D45-4FD8-B2AF-135D9D64AF46}" sibTransId="{77DFF5B7-264C-4569-8DF9-3646CC3DEBB9}"/>
    <dgm:cxn modelId="{12E9FE78-80BF-409A-A23F-221B20711405}" type="presOf" srcId="{3F8472AA-8846-4410-A465-A9ED83577BEE}" destId="{80799208-38D6-4413-BF85-8316F91E1433}" srcOrd="1" destOrd="0" presId="urn:microsoft.com/office/officeart/2005/8/layout/vList4#2"/>
    <dgm:cxn modelId="{D5E1E07C-DD43-4F56-84E6-4108A7C6D839}" srcId="{68CBEDB4-5D71-4799-A01C-091E7100446A}" destId="{0D29B914-0556-428B-A3FE-9A8C53EE7A15}" srcOrd="3" destOrd="0" parTransId="{9E3264B3-256E-4500-904E-E7E50EC773CD}" sibTransId="{B8CD6B11-6605-4C17-BDB1-2C162820178B}"/>
    <dgm:cxn modelId="{7D984984-D1FF-4977-BC10-6C3480B78490}" srcId="{68CBEDB4-5D71-4799-A01C-091E7100446A}" destId="{0AD723AC-09DF-4486-A78C-5F966962D1F8}" srcOrd="1" destOrd="0" parTransId="{CE9E8120-A024-4471-A965-1C0F216458F9}" sibTransId="{36A9F640-2702-48DA-A665-1A1369F909B4}"/>
    <dgm:cxn modelId="{64691E86-4486-414A-96DF-A48D1496C22F}" srcId="{68CBEDB4-5D71-4799-A01C-091E7100446A}" destId="{7DBD9EA0-9D99-4C3E-81F9-EFAEABE5A51F}" srcOrd="4" destOrd="0" parTransId="{5C6CE5CB-CF33-4184-A251-79D8E578B96D}" sibTransId="{CD2A0C98-82D6-49E5-BAB9-68E2C2763D97}"/>
    <dgm:cxn modelId="{B3029A8A-6C3A-4A7B-9BA1-62AA851A4F03}" type="presOf" srcId="{1823F5F9-5448-40CC-8633-C6A9135C82AC}" destId="{42AD0288-D823-4B5F-8F4C-628BADB5F2E3}" srcOrd="0" destOrd="0" presId="urn:microsoft.com/office/officeart/2005/8/layout/vList4#2"/>
    <dgm:cxn modelId="{D7D3DC8E-B24F-4A5E-9513-5B1D572EF6EE}" type="presOf" srcId="{0D29B914-0556-428B-A3FE-9A8C53EE7A15}" destId="{031BF10E-367D-4BFA-9655-86707F91BA7E}" srcOrd="0" destOrd="0" presId="urn:microsoft.com/office/officeart/2005/8/layout/vList4#2"/>
    <dgm:cxn modelId="{AABEAA92-01E8-49AC-B106-B18429F83482}" type="presOf" srcId="{0D29B914-0556-428B-A3FE-9A8C53EE7A15}" destId="{1026436D-0145-489D-86EE-25CA770D9492}" srcOrd="1" destOrd="0" presId="urn:microsoft.com/office/officeart/2005/8/layout/vList4#2"/>
    <dgm:cxn modelId="{74A0A6B0-8615-4360-8231-154324839CF4}" type="presOf" srcId="{0AD723AC-09DF-4486-A78C-5F966962D1F8}" destId="{276E4CA7-DED5-4188-AF17-83B4F5F56C08}" srcOrd="0" destOrd="0" presId="urn:microsoft.com/office/officeart/2005/8/layout/vList4#2"/>
    <dgm:cxn modelId="{3E116CC2-9B38-4D11-A790-C16BCBDBF2BA}" type="presOf" srcId="{3F8472AA-8846-4410-A465-A9ED83577BEE}" destId="{A281BC3A-1B79-48E5-A79E-456C999A45AC}" srcOrd="0" destOrd="0" presId="urn:microsoft.com/office/officeart/2005/8/layout/vList4#2"/>
    <dgm:cxn modelId="{23A7F6C3-42AE-4308-AD1D-E2CCF4E52CCC}" type="presOf" srcId="{13352562-92BF-4E69-A2A3-64AA80F5679E}" destId="{F1BC1648-FFF2-4BB9-9087-3175ECB7EB12}" srcOrd="1" destOrd="0" presId="urn:microsoft.com/office/officeart/2005/8/layout/vList4#2"/>
    <dgm:cxn modelId="{7848D9EB-55F7-47ED-BA3A-FD8B136A3BCE}" type="presOf" srcId="{1823F5F9-5448-40CC-8633-C6A9135C82AC}" destId="{EC6BBB65-9E11-4B9A-A333-973E1C3E3312}" srcOrd="1" destOrd="0" presId="urn:microsoft.com/office/officeart/2005/8/layout/vList4#2"/>
    <dgm:cxn modelId="{D92DB7F9-223F-497F-924B-3F2B2B209DDC}" srcId="{68CBEDB4-5D71-4799-A01C-091E7100446A}" destId="{1823F5F9-5448-40CC-8633-C6A9135C82AC}" srcOrd="2" destOrd="0" parTransId="{5AC984EA-1FD2-4F83-8B99-32758A45444D}" sibTransId="{01A3A92F-497F-4BC1-A587-42F055DCD2D6}"/>
    <dgm:cxn modelId="{4D07AAEE-A230-4AAD-955C-FCC63352F00A}" type="presParOf" srcId="{0A025F1C-4AAE-45FC-A927-E3283CC25B48}" destId="{9769F41A-2BBF-4AE9-92F3-74FF57001190}" srcOrd="0" destOrd="0" presId="urn:microsoft.com/office/officeart/2005/8/layout/vList4#2"/>
    <dgm:cxn modelId="{32252086-543B-4EF2-AC7E-09CB3A60F7BD}" type="presParOf" srcId="{9769F41A-2BBF-4AE9-92F3-74FF57001190}" destId="{50722C34-A323-40C2-9C8C-134F1C1DCD6D}" srcOrd="0" destOrd="0" presId="urn:microsoft.com/office/officeart/2005/8/layout/vList4#2"/>
    <dgm:cxn modelId="{9D81DA52-71B4-465C-9AD2-B43BF66F6D7A}" type="presParOf" srcId="{9769F41A-2BBF-4AE9-92F3-74FF57001190}" destId="{7AA692DF-EDC7-4E38-B472-B73043D265FE}" srcOrd="1" destOrd="0" presId="urn:microsoft.com/office/officeart/2005/8/layout/vList4#2"/>
    <dgm:cxn modelId="{6D7CA5DE-4AE7-4733-BA6D-FB9E8E818CEB}" type="presParOf" srcId="{9769F41A-2BBF-4AE9-92F3-74FF57001190}" destId="{F1BC1648-FFF2-4BB9-9087-3175ECB7EB12}" srcOrd="2" destOrd="0" presId="urn:microsoft.com/office/officeart/2005/8/layout/vList4#2"/>
    <dgm:cxn modelId="{B61E1382-C064-4796-80D8-65C72C4B51D2}" type="presParOf" srcId="{0A025F1C-4AAE-45FC-A927-E3283CC25B48}" destId="{70F12678-DFD0-49A0-B0C5-8BEF5DC9D08A}" srcOrd="1" destOrd="0" presId="urn:microsoft.com/office/officeart/2005/8/layout/vList4#2"/>
    <dgm:cxn modelId="{6CEF56C1-5955-4932-B5A5-C360F3A2C156}" type="presParOf" srcId="{0A025F1C-4AAE-45FC-A927-E3283CC25B48}" destId="{6DABC0EB-A090-47C0-A93F-FA6D94E2F6CF}" srcOrd="2" destOrd="0" presId="urn:microsoft.com/office/officeart/2005/8/layout/vList4#2"/>
    <dgm:cxn modelId="{A8F1D526-7716-4013-A235-EBC48025D7FB}" type="presParOf" srcId="{6DABC0EB-A090-47C0-A93F-FA6D94E2F6CF}" destId="{276E4CA7-DED5-4188-AF17-83B4F5F56C08}" srcOrd="0" destOrd="0" presId="urn:microsoft.com/office/officeart/2005/8/layout/vList4#2"/>
    <dgm:cxn modelId="{2814BF98-B633-44DE-B604-3206EE6A6E5A}" type="presParOf" srcId="{6DABC0EB-A090-47C0-A93F-FA6D94E2F6CF}" destId="{ADC99402-97F7-4AF8-BB31-4182A4E2A0C0}" srcOrd="1" destOrd="0" presId="urn:microsoft.com/office/officeart/2005/8/layout/vList4#2"/>
    <dgm:cxn modelId="{28BA632F-FD4D-4F6D-8D72-940DA91B8354}" type="presParOf" srcId="{6DABC0EB-A090-47C0-A93F-FA6D94E2F6CF}" destId="{AC3D2B41-714A-4D10-94B2-E1CA6456BCB6}" srcOrd="2" destOrd="0" presId="urn:microsoft.com/office/officeart/2005/8/layout/vList4#2"/>
    <dgm:cxn modelId="{4F170A72-31B5-4B95-8DD7-75C82123429E}" type="presParOf" srcId="{0A025F1C-4AAE-45FC-A927-E3283CC25B48}" destId="{65D3E07F-C39C-4A6F-B0C2-83875AB4F30B}" srcOrd="3" destOrd="0" presId="urn:microsoft.com/office/officeart/2005/8/layout/vList4#2"/>
    <dgm:cxn modelId="{FF2B827C-43AB-4148-81DE-F3B63CED53CC}" type="presParOf" srcId="{0A025F1C-4AAE-45FC-A927-E3283CC25B48}" destId="{FC6652D6-A39B-4149-B02D-3D3D3D55B6D4}" srcOrd="4" destOrd="0" presId="urn:microsoft.com/office/officeart/2005/8/layout/vList4#2"/>
    <dgm:cxn modelId="{F66DF99B-B6A9-4221-BD24-217BF57310D0}" type="presParOf" srcId="{FC6652D6-A39B-4149-B02D-3D3D3D55B6D4}" destId="{42AD0288-D823-4B5F-8F4C-628BADB5F2E3}" srcOrd="0" destOrd="0" presId="urn:microsoft.com/office/officeart/2005/8/layout/vList4#2"/>
    <dgm:cxn modelId="{2263DB91-CCE8-4B00-9A91-C2EE1F4E67A0}" type="presParOf" srcId="{FC6652D6-A39B-4149-B02D-3D3D3D55B6D4}" destId="{77A2D0BF-232B-4DD1-B42B-9FBAA613D2A6}" srcOrd="1" destOrd="0" presId="urn:microsoft.com/office/officeart/2005/8/layout/vList4#2"/>
    <dgm:cxn modelId="{62E942C0-156E-42C3-8478-BC87C17634AF}" type="presParOf" srcId="{FC6652D6-A39B-4149-B02D-3D3D3D55B6D4}" destId="{EC6BBB65-9E11-4B9A-A333-973E1C3E3312}" srcOrd="2" destOrd="0" presId="urn:microsoft.com/office/officeart/2005/8/layout/vList4#2"/>
    <dgm:cxn modelId="{073AF652-78FC-47B9-B7E6-08986EFEF7C9}" type="presParOf" srcId="{0A025F1C-4AAE-45FC-A927-E3283CC25B48}" destId="{2BEB9B13-D496-491D-8C17-1207E4D83F24}" srcOrd="5" destOrd="0" presId="urn:microsoft.com/office/officeart/2005/8/layout/vList4#2"/>
    <dgm:cxn modelId="{9D0183B4-2ED6-49C1-B53D-AB7676357F70}" type="presParOf" srcId="{0A025F1C-4AAE-45FC-A927-E3283CC25B48}" destId="{B6BC5AEB-3167-4FB1-9754-38F21443BFA5}" srcOrd="6" destOrd="0" presId="urn:microsoft.com/office/officeart/2005/8/layout/vList4#2"/>
    <dgm:cxn modelId="{3E5A1550-146D-44C4-B438-576A27B6DF14}" type="presParOf" srcId="{B6BC5AEB-3167-4FB1-9754-38F21443BFA5}" destId="{031BF10E-367D-4BFA-9655-86707F91BA7E}" srcOrd="0" destOrd="0" presId="urn:microsoft.com/office/officeart/2005/8/layout/vList4#2"/>
    <dgm:cxn modelId="{6388E5BF-3714-49E7-A40B-EFC37718EFBF}" type="presParOf" srcId="{B6BC5AEB-3167-4FB1-9754-38F21443BFA5}" destId="{F82803CA-67BF-4942-A6FE-6DAFFADB7614}" srcOrd="1" destOrd="0" presId="urn:microsoft.com/office/officeart/2005/8/layout/vList4#2"/>
    <dgm:cxn modelId="{E369E900-C384-4AB6-A8BE-3DF640A2D3B2}" type="presParOf" srcId="{B6BC5AEB-3167-4FB1-9754-38F21443BFA5}" destId="{1026436D-0145-489D-86EE-25CA770D9492}" srcOrd="2" destOrd="0" presId="urn:microsoft.com/office/officeart/2005/8/layout/vList4#2"/>
    <dgm:cxn modelId="{8372FB97-154F-4A88-99F5-216659799341}" type="presParOf" srcId="{0A025F1C-4AAE-45FC-A927-E3283CC25B48}" destId="{D3620787-AAE9-4345-AE44-E7E168B42C55}" srcOrd="7" destOrd="0" presId="urn:microsoft.com/office/officeart/2005/8/layout/vList4#2"/>
    <dgm:cxn modelId="{394752E9-F103-461E-BC11-21963F0A5D20}" type="presParOf" srcId="{0A025F1C-4AAE-45FC-A927-E3283CC25B48}" destId="{B2C2F03A-AC7E-4AA9-A426-085DEDB95612}" srcOrd="8" destOrd="0" presId="urn:microsoft.com/office/officeart/2005/8/layout/vList4#2"/>
    <dgm:cxn modelId="{BC9354F0-2C99-487B-A28E-10E1CB1B8647}" type="presParOf" srcId="{B2C2F03A-AC7E-4AA9-A426-085DEDB95612}" destId="{10A023E1-ECE4-455E-B528-CF658115F981}" srcOrd="0" destOrd="0" presId="urn:microsoft.com/office/officeart/2005/8/layout/vList4#2"/>
    <dgm:cxn modelId="{6C5CDFAF-ECC7-4265-AD2B-B83033BC7009}" type="presParOf" srcId="{B2C2F03A-AC7E-4AA9-A426-085DEDB95612}" destId="{5FBA27B3-2D9E-45FE-B4C6-5FAE9D11F1BF}" srcOrd="1" destOrd="0" presId="urn:microsoft.com/office/officeart/2005/8/layout/vList4#2"/>
    <dgm:cxn modelId="{65AD328B-7587-4BF3-B2A0-689278D2BDC6}" type="presParOf" srcId="{B2C2F03A-AC7E-4AA9-A426-085DEDB95612}" destId="{9FC5FF8C-AE73-479A-9F2A-54120409EED1}" srcOrd="2" destOrd="0" presId="urn:microsoft.com/office/officeart/2005/8/layout/vList4#2"/>
    <dgm:cxn modelId="{3437F7A9-8F5B-4B9E-AA12-BCC156782389}" type="presParOf" srcId="{0A025F1C-4AAE-45FC-A927-E3283CC25B48}" destId="{F0049994-8231-410C-B7B6-96A5B358DF06}" srcOrd="9" destOrd="0" presId="urn:microsoft.com/office/officeart/2005/8/layout/vList4#2"/>
    <dgm:cxn modelId="{57D7F573-F9B8-4846-B38F-5D85BDB125C7}" type="presParOf" srcId="{0A025F1C-4AAE-45FC-A927-E3283CC25B48}" destId="{A14F77E3-861E-42AC-B70A-85C2219829ED}" srcOrd="10" destOrd="0" presId="urn:microsoft.com/office/officeart/2005/8/layout/vList4#2"/>
    <dgm:cxn modelId="{45BAE267-69D7-4A84-AA69-C2D98B843834}" type="presParOf" srcId="{A14F77E3-861E-42AC-B70A-85C2219829ED}" destId="{A281BC3A-1B79-48E5-A79E-456C999A45AC}" srcOrd="0" destOrd="0" presId="urn:microsoft.com/office/officeart/2005/8/layout/vList4#2"/>
    <dgm:cxn modelId="{E815DDC5-1A5B-48CA-9C62-22DB924D1C9C}" type="presParOf" srcId="{A14F77E3-861E-42AC-B70A-85C2219829ED}" destId="{A82FED41-F6DB-45F6-AFB9-A5B4067D2FA1}" srcOrd="1" destOrd="0" presId="urn:microsoft.com/office/officeart/2005/8/layout/vList4#2"/>
    <dgm:cxn modelId="{4BACA511-012C-4884-A5B4-5A249A9E1E46}" type="presParOf" srcId="{A14F77E3-861E-42AC-B70A-85C2219829ED}" destId="{80799208-38D6-4413-BF85-8316F91E1433}" srcOrd="2" destOrd="0" presId="urn:microsoft.com/office/officeart/2005/8/layout/vList4#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8CBEDB4-5D71-4799-A01C-091E7100446A}" type="doc">
      <dgm:prSet loTypeId="urn:microsoft.com/office/officeart/2005/8/layout/vList4#1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13352562-92BF-4E69-A2A3-64AA80F5679E}">
      <dgm:prSet phldrT="[Текст]" custT="1"/>
      <dgm:spPr/>
      <dgm:t>
        <a:bodyPr/>
        <a:lstStyle/>
        <a:p>
          <a:pPr>
            <a:lnSpc>
              <a:spcPct val="85000"/>
            </a:lnSpc>
            <a:spcAft>
              <a:spcPts val="0"/>
            </a:spcAft>
          </a:pPr>
          <a:r>
            <a:rPr lang="ru-RU" sz="1600" dirty="0"/>
            <a:t>Общественный</a:t>
          </a:r>
        </a:p>
        <a:p>
          <a:pPr>
            <a:lnSpc>
              <a:spcPct val="85000"/>
            </a:lnSpc>
            <a:spcAft>
              <a:spcPts val="0"/>
            </a:spcAft>
          </a:pPr>
          <a:r>
            <a:rPr lang="ru-RU" sz="1600" dirty="0"/>
            <a:t>                                Научная деятельность</a:t>
          </a:r>
        </a:p>
        <a:p>
          <a:pPr>
            <a:lnSpc>
              <a:spcPct val="85000"/>
            </a:lnSpc>
            <a:spcAft>
              <a:spcPts val="0"/>
            </a:spcAft>
          </a:pPr>
          <a:r>
            <a:rPr lang="ru-RU" sz="1600" dirty="0"/>
            <a:t>Личный</a:t>
          </a:r>
        </a:p>
      </dgm:t>
    </dgm:pt>
    <dgm:pt modelId="{283A07AE-0D45-4FD8-B2AF-135D9D64AF46}" type="parTrans" cxnId="{52B40051-B869-4742-BFE4-6DA87F6980C2}">
      <dgm:prSet/>
      <dgm:spPr/>
      <dgm:t>
        <a:bodyPr/>
        <a:lstStyle/>
        <a:p>
          <a:endParaRPr lang="ru-RU"/>
        </a:p>
      </dgm:t>
    </dgm:pt>
    <dgm:pt modelId="{77DFF5B7-264C-4569-8DF9-3646CC3DEBB9}" type="sibTrans" cxnId="{52B40051-B869-4742-BFE4-6DA87F6980C2}">
      <dgm:prSet/>
      <dgm:spPr/>
      <dgm:t>
        <a:bodyPr/>
        <a:lstStyle/>
        <a:p>
          <a:endParaRPr lang="ru-RU"/>
        </a:p>
      </dgm:t>
    </dgm:pt>
    <dgm:pt modelId="{0AD723AC-09DF-4486-A78C-5F966962D1F8}">
      <dgm:prSet phldrT="[Текст]" custT="1"/>
      <dgm:spPr/>
      <dgm:t>
        <a:bodyPr/>
        <a:lstStyle/>
        <a:p>
          <a:r>
            <a:rPr lang="ru-RU" sz="1600" dirty="0"/>
            <a:t>Образовательный</a:t>
          </a:r>
        </a:p>
        <a:p>
          <a:r>
            <a:rPr lang="ru-RU" sz="1600" dirty="0"/>
            <a:t>Личный </a:t>
          </a:r>
        </a:p>
      </dgm:t>
    </dgm:pt>
    <dgm:pt modelId="{CE9E8120-A024-4471-A965-1C0F216458F9}" type="parTrans" cxnId="{7D984984-D1FF-4977-BC10-6C3480B78490}">
      <dgm:prSet/>
      <dgm:spPr/>
      <dgm:t>
        <a:bodyPr/>
        <a:lstStyle/>
        <a:p>
          <a:endParaRPr lang="ru-RU"/>
        </a:p>
      </dgm:t>
    </dgm:pt>
    <dgm:pt modelId="{36A9F640-2702-48DA-A665-1A1369F909B4}" type="sibTrans" cxnId="{7D984984-D1FF-4977-BC10-6C3480B78490}">
      <dgm:prSet/>
      <dgm:spPr/>
      <dgm:t>
        <a:bodyPr/>
        <a:lstStyle/>
        <a:p>
          <a:endParaRPr lang="ru-RU"/>
        </a:p>
      </dgm:t>
    </dgm:pt>
    <dgm:pt modelId="{1823F5F9-5448-40CC-8633-C6A9135C82AC}">
      <dgm:prSet phldrT="[Текст]" custT="1"/>
      <dgm:spPr/>
      <dgm:t>
        <a:bodyPr/>
        <a:lstStyle/>
        <a:p>
          <a:pPr>
            <a:lnSpc>
              <a:spcPct val="85000"/>
            </a:lnSpc>
            <a:spcAft>
              <a:spcPts val="0"/>
            </a:spcAft>
          </a:pPr>
          <a:r>
            <a:rPr lang="ru-RU" sz="1600" dirty="0"/>
            <a:t>Научный</a:t>
          </a:r>
        </a:p>
        <a:p>
          <a:pPr>
            <a:lnSpc>
              <a:spcPct val="85000"/>
            </a:lnSpc>
            <a:spcAft>
              <a:spcPts val="0"/>
            </a:spcAft>
          </a:pPr>
          <a:r>
            <a:rPr lang="ru-RU" sz="1600" dirty="0"/>
            <a:t>                                 Общественный</a:t>
          </a:r>
        </a:p>
        <a:p>
          <a:pPr>
            <a:lnSpc>
              <a:spcPct val="85000"/>
            </a:lnSpc>
            <a:spcAft>
              <a:spcPts val="0"/>
            </a:spcAft>
          </a:pPr>
          <a:r>
            <a:rPr lang="ru-RU" sz="1600" dirty="0"/>
            <a:t>Изобретательство</a:t>
          </a:r>
        </a:p>
      </dgm:t>
    </dgm:pt>
    <dgm:pt modelId="{5AC984EA-1FD2-4F83-8B99-32758A45444D}" type="parTrans" cxnId="{D92DB7F9-223F-497F-924B-3F2B2B209DDC}">
      <dgm:prSet/>
      <dgm:spPr/>
      <dgm:t>
        <a:bodyPr/>
        <a:lstStyle/>
        <a:p>
          <a:endParaRPr lang="ru-RU"/>
        </a:p>
      </dgm:t>
    </dgm:pt>
    <dgm:pt modelId="{01A3A92F-497F-4BC1-A587-42F055DCD2D6}" type="sibTrans" cxnId="{D92DB7F9-223F-497F-924B-3F2B2B209DDC}">
      <dgm:prSet/>
      <dgm:spPr/>
      <dgm:t>
        <a:bodyPr/>
        <a:lstStyle/>
        <a:p>
          <a:endParaRPr lang="ru-RU"/>
        </a:p>
      </dgm:t>
    </dgm:pt>
    <dgm:pt modelId="{0D29B914-0556-428B-A3FE-9A8C53EE7A15}">
      <dgm:prSet custT="1"/>
      <dgm:spPr/>
      <dgm:t>
        <a:bodyPr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ru-RU" sz="1600" dirty="0"/>
            <a:t>Личные траты, досуг и отдых</a:t>
          </a:r>
        </a:p>
        <a:p>
          <a:pPr>
            <a:lnSpc>
              <a:spcPct val="80000"/>
            </a:lnSpc>
            <a:spcAft>
              <a:spcPts val="0"/>
            </a:spcAft>
          </a:pPr>
          <a:r>
            <a:rPr lang="ru-RU" sz="1600" dirty="0"/>
            <a:t>                                                            Гражданин и сообщество</a:t>
          </a:r>
        </a:p>
        <a:p>
          <a:pPr>
            <a:lnSpc>
              <a:spcPct val="80000"/>
            </a:lnSpc>
            <a:spcAft>
              <a:spcPts val="0"/>
            </a:spcAft>
          </a:pPr>
          <a:r>
            <a:rPr lang="ru-RU" sz="1600" dirty="0"/>
            <a:t>Дом и семья</a:t>
          </a:r>
        </a:p>
        <a:p>
          <a:pPr>
            <a:lnSpc>
              <a:spcPct val="80000"/>
            </a:lnSpc>
            <a:spcAft>
              <a:spcPts val="0"/>
            </a:spcAft>
          </a:pPr>
          <a:r>
            <a:rPr lang="ru-RU" sz="1600" dirty="0"/>
            <a:t>                                             Личный</a:t>
          </a:r>
        </a:p>
      </dgm:t>
    </dgm:pt>
    <dgm:pt modelId="{9E3264B3-256E-4500-904E-E7E50EC773CD}" type="parTrans" cxnId="{D5E1E07C-DD43-4F56-84E6-4108A7C6D839}">
      <dgm:prSet/>
      <dgm:spPr/>
      <dgm:t>
        <a:bodyPr/>
        <a:lstStyle/>
        <a:p>
          <a:endParaRPr lang="ru-RU"/>
        </a:p>
      </dgm:t>
    </dgm:pt>
    <dgm:pt modelId="{B8CD6B11-6605-4C17-BDB1-2C162820178B}" type="sibTrans" cxnId="{D5E1E07C-DD43-4F56-84E6-4108A7C6D839}">
      <dgm:prSet/>
      <dgm:spPr/>
      <dgm:t>
        <a:bodyPr/>
        <a:lstStyle/>
        <a:p>
          <a:endParaRPr lang="ru-RU"/>
        </a:p>
      </dgm:t>
    </dgm:pt>
    <dgm:pt modelId="{7DBD9EA0-9D99-4C3E-81F9-EFAEABE5A51F}">
      <dgm:prSet custT="1"/>
      <dgm:spPr/>
      <dgm:t>
        <a:bodyPr/>
        <a:lstStyle/>
        <a:p>
          <a:r>
            <a:rPr lang="ru-RU" sz="1600" dirty="0"/>
            <a:t>Личный</a:t>
          </a:r>
        </a:p>
        <a:p>
          <a:r>
            <a:rPr lang="ru-RU" sz="1600" dirty="0"/>
            <a:t>Общественный</a:t>
          </a:r>
        </a:p>
      </dgm:t>
    </dgm:pt>
    <dgm:pt modelId="{5C6CE5CB-CF33-4184-A251-79D8E578B96D}" type="parTrans" cxnId="{64691E86-4486-414A-96DF-A48D1496C22F}">
      <dgm:prSet/>
      <dgm:spPr/>
      <dgm:t>
        <a:bodyPr/>
        <a:lstStyle/>
        <a:p>
          <a:endParaRPr lang="ru-RU"/>
        </a:p>
      </dgm:t>
    </dgm:pt>
    <dgm:pt modelId="{CD2A0C98-82D6-49E5-BAB9-68E2C2763D97}" type="sibTrans" cxnId="{64691E86-4486-414A-96DF-A48D1496C22F}">
      <dgm:prSet/>
      <dgm:spPr/>
      <dgm:t>
        <a:bodyPr/>
        <a:lstStyle/>
        <a:p>
          <a:endParaRPr lang="ru-RU"/>
        </a:p>
      </dgm:t>
    </dgm:pt>
    <dgm:pt modelId="{3F8472AA-8846-4410-A465-A9ED83577BEE}">
      <dgm:prSet custT="1"/>
      <dgm:spPr/>
      <dgm:t>
        <a:bodyPr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ru-RU" sz="1600" dirty="0"/>
            <a:t>Общественный</a:t>
          </a:r>
        </a:p>
        <a:p>
          <a:pPr>
            <a:lnSpc>
              <a:spcPct val="80000"/>
            </a:lnSpc>
            <a:spcAft>
              <a:spcPts val="0"/>
            </a:spcAft>
          </a:pPr>
          <a:r>
            <a:rPr lang="ru-RU" sz="1600" dirty="0"/>
            <a:t>                                      Изобретательство</a:t>
          </a:r>
        </a:p>
        <a:p>
          <a:pPr>
            <a:lnSpc>
              <a:spcPct val="80000"/>
            </a:lnSpc>
            <a:spcAft>
              <a:spcPts val="0"/>
            </a:spcAft>
          </a:pPr>
          <a:r>
            <a:rPr lang="ru-RU" sz="1600" dirty="0"/>
            <a:t>Научный</a:t>
          </a:r>
        </a:p>
      </dgm:t>
    </dgm:pt>
    <dgm:pt modelId="{F76AEC26-C906-4239-A141-A22F351BB022}" type="parTrans" cxnId="{C474836C-5561-4F08-B37C-25088E4787B8}">
      <dgm:prSet/>
      <dgm:spPr/>
      <dgm:t>
        <a:bodyPr/>
        <a:lstStyle/>
        <a:p>
          <a:endParaRPr lang="ru-RU"/>
        </a:p>
      </dgm:t>
    </dgm:pt>
    <dgm:pt modelId="{729F37A1-07AC-4DAF-92FE-82A7CF86F2C4}" type="sibTrans" cxnId="{C474836C-5561-4F08-B37C-25088E4787B8}">
      <dgm:prSet/>
      <dgm:spPr/>
      <dgm:t>
        <a:bodyPr/>
        <a:lstStyle/>
        <a:p>
          <a:endParaRPr lang="ru-RU"/>
        </a:p>
      </dgm:t>
    </dgm:pt>
    <dgm:pt modelId="{0A025F1C-4AAE-45FC-A927-E3283CC25B48}" type="pres">
      <dgm:prSet presAssocID="{68CBEDB4-5D71-4799-A01C-091E7100446A}" presName="linear" presStyleCnt="0">
        <dgm:presLayoutVars>
          <dgm:dir/>
          <dgm:resizeHandles val="exact"/>
        </dgm:presLayoutVars>
      </dgm:prSet>
      <dgm:spPr/>
    </dgm:pt>
    <dgm:pt modelId="{9769F41A-2BBF-4AE9-92F3-74FF57001190}" type="pres">
      <dgm:prSet presAssocID="{13352562-92BF-4E69-A2A3-64AA80F5679E}" presName="comp" presStyleCnt="0"/>
      <dgm:spPr/>
    </dgm:pt>
    <dgm:pt modelId="{50722C34-A323-40C2-9C8C-134F1C1DCD6D}" type="pres">
      <dgm:prSet presAssocID="{13352562-92BF-4E69-A2A3-64AA80F5679E}" presName="box" presStyleLbl="node1" presStyleIdx="0" presStyleCnt="6" custLinFactNeighborX="-1851" custLinFactNeighborY="-11949"/>
      <dgm:spPr/>
    </dgm:pt>
    <dgm:pt modelId="{7AA692DF-EDC7-4E38-B472-B73043D265FE}" type="pres">
      <dgm:prSet presAssocID="{13352562-92BF-4E69-A2A3-64AA80F5679E}" presName="img" presStyleLbl="fgImgPlace1" presStyleIdx="0" presStyleCnt="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F1BC1648-FFF2-4BB9-9087-3175ECB7EB12}" type="pres">
      <dgm:prSet presAssocID="{13352562-92BF-4E69-A2A3-64AA80F5679E}" presName="text" presStyleLbl="node1" presStyleIdx="0" presStyleCnt="6">
        <dgm:presLayoutVars>
          <dgm:bulletEnabled val="1"/>
        </dgm:presLayoutVars>
      </dgm:prSet>
      <dgm:spPr/>
    </dgm:pt>
    <dgm:pt modelId="{70F12678-DFD0-49A0-B0C5-8BEF5DC9D08A}" type="pres">
      <dgm:prSet presAssocID="{77DFF5B7-264C-4569-8DF9-3646CC3DEBB9}" presName="spacer" presStyleCnt="0"/>
      <dgm:spPr/>
    </dgm:pt>
    <dgm:pt modelId="{6DABC0EB-A090-47C0-A93F-FA6D94E2F6CF}" type="pres">
      <dgm:prSet presAssocID="{0AD723AC-09DF-4486-A78C-5F966962D1F8}" presName="comp" presStyleCnt="0"/>
      <dgm:spPr/>
    </dgm:pt>
    <dgm:pt modelId="{276E4CA7-DED5-4188-AF17-83B4F5F56C08}" type="pres">
      <dgm:prSet presAssocID="{0AD723AC-09DF-4486-A78C-5F966962D1F8}" presName="box" presStyleLbl="node1" presStyleIdx="1" presStyleCnt="6"/>
      <dgm:spPr/>
    </dgm:pt>
    <dgm:pt modelId="{ADC99402-97F7-4AF8-BB31-4182A4E2A0C0}" type="pres">
      <dgm:prSet presAssocID="{0AD723AC-09DF-4486-A78C-5F966962D1F8}" presName="img" presStyleLbl="fgImgPlace1" presStyleIdx="1" presStyleCnt="6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AC3D2B41-714A-4D10-94B2-E1CA6456BCB6}" type="pres">
      <dgm:prSet presAssocID="{0AD723AC-09DF-4486-A78C-5F966962D1F8}" presName="text" presStyleLbl="node1" presStyleIdx="1" presStyleCnt="6">
        <dgm:presLayoutVars>
          <dgm:bulletEnabled val="1"/>
        </dgm:presLayoutVars>
      </dgm:prSet>
      <dgm:spPr/>
    </dgm:pt>
    <dgm:pt modelId="{65D3E07F-C39C-4A6F-B0C2-83875AB4F30B}" type="pres">
      <dgm:prSet presAssocID="{36A9F640-2702-48DA-A665-1A1369F909B4}" presName="spacer" presStyleCnt="0"/>
      <dgm:spPr/>
    </dgm:pt>
    <dgm:pt modelId="{FC6652D6-A39B-4149-B02D-3D3D3D55B6D4}" type="pres">
      <dgm:prSet presAssocID="{1823F5F9-5448-40CC-8633-C6A9135C82AC}" presName="comp" presStyleCnt="0"/>
      <dgm:spPr/>
    </dgm:pt>
    <dgm:pt modelId="{42AD0288-D823-4B5F-8F4C-628BADB5F2E3}" type="pres">
      <dgm:prSet presAssocID="{1823F5F9-5448-40CC-8633-C6A9135C82AC}" presName="box" presStyleLbl="node1" presStyleIdx="2" presStyleCnt="6" custLinFactNeighborX="-1851" custLinFactNeighborY="3137"/>
      <dgm:spPr/>
    </dgm:pt>
    <dgm:pt modelId="{77A2D0BF-232B-4DD1-B42B-9FBAA613D2A6}" type="pres">
      <dgm:prSet presAssocID="{1823F5F9-5448-40CC-8633-C6A9135C82AC}" presName="img" presStyleLbl="fgImgPlace1" presStyleIdx="2" presStyleCnt="6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EC6BBB65-9E11-4B9A-A333-973E1C3E3312}" type="pres">
      <dgm:prSet presAssocID="{1823F5F9-5448-40CC-8633-C6A9135C82AC}" presName="text" presStyleLbl="node1" presStyleIdx="2" presStyleCnt="6">
        <dgm:presLayoutVars>
          <dgm:bulletEnabled val="1"/>
        </dgm:presLayoutVars>
      </dgm:prSet>
      <dgm:spPr/>
    </dgm:pt>
    <dgm:pt modelId="{2BEB9B13-D496-491D-8C17-1207E4D83F24}" type="pres">
      <dgm:prSet presAssocID="{01A3A92F-497F-4BC1-A587-42F055DCD2D6}" presName="spacer" presStyleCnt="0"/>
      <dgm:spPr/>
    </dgm:pt>
    <dgm:pt modelId="{B6BC5AEB-3167-4FB1-9754-38F21443BFA5}" type="pres">
      <dgm:prSet presAssocID="{0D29B914-0556-428B-A3FE-9A8C53EE7A15}" presName="comp" presStyleCnt="0"/>
      <dgm:spPr/>
    </dgm:pt>
    <dgm:pt modelId="{031BF10E-367D-4BFA-9655-86707F91BA7E}" type="pres">
      <dgm:prSet presAssocID="{0D29B914-0556-428B-A3FE-9A8C53EE7A15}" presName="box" presStyleLbl="node1" presStyleIdx="3" presStyleCnt="6"/>
      <dgm:spPr/>
    </dgm:pt>
    <dgm:pt modelId="{F82803CA-67BF-4942-A6FE-6DAFFADB7614}" type="pres">
      <dgm:prSet presAssocID="{0D29B914-0556-428B-A3FE-9A8C53EE7A15}" presName="img" presStyleLbl="fgImgPlace1" presStyleIdx="3" presStyleCnt="6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1026436D-0145-489D-86EE-25CA770D9492}" type="pres">
      <dgm:prSet presAssocID="{0D29B914-0556-428B-A3FE-9A8C53EE7A15}" presName="text" presStyleLbl="node1" presStyleIdx="3" presStyleCnt="6">
        <dgm:presLayoutVars>
          <dgm:bulletEnabled val="1"/>
        </dgm:presLayoutVars>
      </dgm:prSet>
      <dgm:spPr/>
    </dgm:pt>
    <dgm:pt modelId="{D3620787-AAE9-4345-AE44-E7E168B42C55}" type="pres">
      <dgm:prSet presAssocID="{B8CD6B11-6605-4C17-BDB1-2C162820178B}" presName="spacer" presStyleCnt="0"/>
      <dgm:spPr/>
    </dgm:pt>
    <dgm:pt modelId="{B2C2F03A-AC7E-4AA9-A426-085DEDB95612}" type="pres">
      <dgm:prSet presAssocID="{7DBD9EA0-9D99-4C3E-81F9-EFAEABE5A51F}" presName="comp" presStyleCnt="0"/>
      <dgm:spPr/>
    </dgm:pt>
    <dgm:pt modelId="{10A023E1-ECE4-455E-B528-CF658115F981}" type="pres">
      <dgm:prSet presAssocID="{7DBD9EA0-9D99-4C3E-81F9-EFAEABE5A51F}" presName="box" presStyleLbl="node1" presStyleIdx="4" presStyleCnt="6"/>
      <dgm:spPr/>
    </dgm:pt>
    <dgm:pt modelId="{5FBA27B3-2D9E-45FE-B4C6-5FAE9D11F1BF}" type="pres">
      <dgm:prSet presAssocID="{7DBD9EA0-9D99-4C3E-81F9-EFAEABE5A51F}" presName="img" presStyleLbl="fgImgPlace1" presStyleIdx="4" presStyleCnt="6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</dgm:pt>
    <dgm:pt modelId="{9FC5FF8C-AE73-479A-9F2A-54120409EED1}" type="pres">
      <dgm:prSet presAssocID="{7DBD9EA0-9D99-4C3E-81F9-EFAEABE5A51F}" presName="text" presStyleLbl="node1" presStyleIdx="4" presStyleCnt="6">
        <dgm:presLayoutVars>
          <dgm:bulletEnabled val="1"/>
        </dgm:presLayoutVars>
      </dgm:prSet>
      <dgm:spPr/>
    </dgm:pt>
    <dgm:pt modelId="{F0049994-8231-410C-B7B6-96A5B358DF06}" type="pres">
      <dgm:prSet presAssocID="{CD2A0C98-82D6-49E5-BAB9-68E2C2763D97}" presName="spacer" presStyleCnt="0"/>
      <dgm:spPr/>
    </dgm:pt>
    <dgm:pt modelId="{A14F77E3-861E-42AC-B70A-85C2219829ED}" type="pres">
      <dgm:prSet presAssocID="{3F8472AA-8846-4410-A465-A9ED83577BEE}" presName="comp" presStyleCnt="0"/>
      <dgm:spPr/>
    </dgm:pt>
    <dgm:pt modelId="{A281BC3A-1B79-48E5-A79E-456C999A45AC}" type="pres">
      <dgm:prSet presAssocID="{3F8472AA-8846-4410-A465-A9ED83577BEE}" presName="box" presStyleLbl="node1" presStyleIdx="5" presStyleCnt="6" custLinFactNeighborX="-104" custLinFactNeighborY="-1067"/>
      <dgm:spPr/>
    </dgm:pt>
    <dgm:pt modelId="{A82FED41-F6DB-45F6-AFB9-A5B4067D2FA1}" type="pres">
      <dgm:prSet presAssocID="{3F8472AA-8846-4410-A465-A9ED83577BEE}" presName="img" presStyleLbl="fgImgPlace1" presStyleIdx="5" presStyleCnt="6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</dgm:pt>
    <dgm:pt modelId="{80799208-38D6-4413-BF85-8316F91E1433}" type="pres">
      <dgm:prSet presAssocID="{3F8472AA-8846-4410-A465-A9ED83577BEE}" presName="text" presStyleLbl="node1" presStyleIdx="5" presStyleCnt="6">
        <dgm:presLayoutVars>
          <dgm:bulletEnabled val="1"/>
        </dgm:presLayoutVars>
      </dgm:prSet>
      <dgm:spPr/>
    </dgm:pt>
  </dgm:ptLst>
  <dgm:cxnLst>
    <dgm:cxn modelId="{A54E6C02-587D-48E2-AB50-E058EED1B1C2}" type="presOf" srcId="{0AD723AC-09DF-4486-A78C-5F966962D1F8}" destId="{AC3D2B41-714A-4D10-94B2-E1CA6456BCB6}" srcOrd="1" destOrd="0" presId="urn:microsoft.com/office/officeart/2005/8/layout/vList4#1"/>
    <dgm:cxn modelId="{54164A09-10EC-4198-95D2-C0E064E1878C}" type="presOf" srcId="{7DBD9EA0-9D99-4C3E-81F9-EFAEABE5A51F}" destId="{9FC5FF8C-AE73-479A-9F2A-54120409EED1}" srcOrd="1" destOrd="0" presId="urn:microsoft.com/office/officeart/2005/8/layout/vList4#1"/>
    <dgm:cxn modelId="{9D349D17-0E84-4499-B786-03413C5E1BD7}" type="presOf" srcId="{68CBEDB4-5D71-4799-A01C-091E7100446A}" destId="{0A025F1C-4AAE-45FC-A927-E3283CC25B48}" srcOrd="0" destOrd="0" presId="urn:microsoft.com/office/officeart/2005/8/layout/vList4#1"/>
    <dgm:cxn modelId="{ACF4281D-CD28-42EF-AD17-01CB29AACD8B}" type="presOf" srcId="{13352562-92BF-4E69-A2A3-64AA80F5679E}" destId="{50722C34-A323-40C2-9C8C-134F1C1DCD6D}" srcOrd="0" destOrd="0" presId="urn:microsoft.com/office/officeart/2005/8/layout/vList4#1"/>
    <dgm:cxn modelId="{27CFF967-B89E-4B94-88DA-CC507FE87FCA}" type="presOf" srcId="{7DBD9EA0-9D99-4C3E-81F9-EFAEABE5A51F}" destId="{10A023E1-ECE4-455E-B528-CF658115F981}" srcOrd="0" destOrd="0" presId="urn:microsoft.com/office/officeart/2005/8/layout/vList4#1"/>
    <dgm:cxn modelId="{C474836C-5561-4F08-B37C-25088E4787B8}" srcId="{68CBEDB4-5D71-4799-A01C-091E7100446A}" destId="{3F8472AA-8846-4410-A465-A9ED83577BEE}" srcOrd="5" destOrd="0" parTransId="{F76AEC26-C906-4239-A141-A22F351BB022}" sibTransId="{729F37A1-07AC-4DAF-92FE-82A7CF86F2C4}"/>
    <dgm:cxn modelId="{52B40051-B869-4742-BFE4-6DA87F6980C2}" srcId="{68CBEDB4-5D71-4799-A01C-091E7100446A}" destId="{13352562-92BF-4E69-A2A3-64AA80F5679E}" srcOrd="0" destOrd="0" parTransId="{283A07AE-0D45-4FD8-B2AF-135D9D64AF46}" sibTransId="{77DFF5B7-264C-4569-8DF9-3646CC3DEBB9}"/>
    <dgm:cxn modelId="{12E9FE78-80BF-409A-A23F-221B20711405}" type="presOf" srcId="{3F8472AA-8846-4410-A465-A9ED83577BEE}" destId="{80799208-38D6-4413-BF85-8316F91E1433}" srcOrd="1" destOrd="0" presId="urn:microsoft.com/office/officeart/2005/8/layout/vList4#1"/>
    <dgm:cxn modelId="{D5E1E07C-DD43-4F56-84E6-4108A7C6D839}" srcId="{68CBEDB4-5D71-4799-A01C-091E7100446A}" destId="{0D29B914-0556-428B-A3FE-9A8C53EE7A15}" srcOrd="3" destOrd="0" parTransId="{9E3264B3-256E-4500-904E-E7E50EC773CD}" sibTransId="{B8CD6B11-6605-4C17-BDB1-2C162820178B}"/>
    <dgm:cxn modelId="{7D984984-D1FF-4977-BC10-6C3480B78490}" srcId="{68CBEDB4-5D71-4799-A01C-091E7100446A}" destId="{0AD723AC-09DF-4486-A78C-5F966962D1F8}" srcOrd="1" destOrd="0" parTransId="{CE9E8120-A024-4471-A965-1C0F216458F9}" sibTransId="{36A9F640-2702-48DA-A665-1A1369F909B4}"/>
    <dgm:cxn modelId="{64691E86-4486-414A-96DF-A48D1496C22F}" srcId="{68CBEDB4-5D71-4799-A01C-091E7100446A}" destId="{7DBD9EA0-9D99-4C3E-81F9-EFAEABE5A51F}" srcOrd="4" destOrd="0" parTransId="{5C6CE5CB-CF33-4184-A251-79D8E578B96D}" sibTransId="{CD2A0C98-82D6-49E5-BAB9-68E2C2763D97}"/>
    <dgm:cxn modelId="{B3029A8A-6C3A-4A7B-9BA1-62AA851A4F03}" type="presOf" srcId="{1823F5F9-5448-40CC-8633-C6A9135C82AC}" destId="{42AD0288-D823-4B5F-8F4C-628BADB5F2E3}" srcOrd="0" destOrd="0" presId="urn:microsoft.com/office/officeart/2005/8/layout/vList4#1"/>
    <dgm:cxn modelId="{D7D3DC8E-B24F-4A5E-9513-5B1D572EF6EE}" type="presOf" srcId="{0D29B914-0556-428B-A3FE-9A8C53EE7A15}" destId="{031BF10E-367D-4BFA-9655-86707F91BA7E}" srcOrd="0" destOrd="0" presId="urn:microsoft.com/office/officeart/2005/8/layout/vList4#1"/>
    <dgm:cxn modelId="{AABEAA92-01E8-49AC-B106-B18429F83482}" type="presOf" srcId="{0D29B914-0556-428B-A3FE-9A8C53EE7A15}" destId="{1026436D-0145-489D-86EE-25CA770D9492}" srcOrd="1" destOrd="0" presId="urn:microsoft.com/office/officeart/2005/8/layout/vList4#1"/>
    <dgm:cxn modelId="{74A0A6B0-8615-4360-8231-154324839CF4}" type="presOf" srcId="{0AD723AC-09DF-4486-A78C-5F966962D1F8}" destId="{276E4CA7-DED5-4188-AF17-83B4F5F56C08}" srcOrd="0" destOrd="0" presId="urn:microsoft.com/office/officeart/2005/8/layout/vList4#1"/>
    <dgm:cxn modelId="{3E116CC2-9B38-4D11-A790-C16BCBDBF2BA}" type="presOf" srcId="{3F8472AA-8846-4410-A465-A9ED83577BEE}" destId="{A281BC3A-1B79-48E5-A79E-456C999A45AC}" srcOrd="0" destOrd="0" presId="urn:microsoft.com/office/officeart/2005/8/layout/vList4#1"/>
    <dgm:cxn modelId="{23A7F6C3-42AE-4308-AD1D-E2CCF4E52CCC}" type="presOf" srcId="{13352562-92BF-4E69-A2A3-64AA80F5679E}" destId="{F1BC1648-FFF2-4BB9-9087-3175ECB7EB12}" srcOrd="1" destOrd="0" presId="urn:microsoft.com/office/officeart/2005/8/layout/vList4#1"/>
    <dgm:cxn modelId="{7848D9EB-55F7-47ED-BA3A-FD8B136A3BCE}" type="presOf" srcId="{1823F5F9-5448-40CC-8633-C6A9135C82AC}" destId="{EC6BBB65-9E11-4B9A-A333-973E1C3E3312}" srcOrd="1" destOrd="0" presId="urn:microsoft.com/office/officeart/2005/8/layout/vList4#1"/>
    <dgm:cxn modelId="{D92DB7F9-223F-497F-924B-3F2B2B209DDC}" srcId="{68CBEDB4-5D71-4799-A01C-091E7100446A}" destId="{1823F5F9-5448-40CC-8633-C6A9135C82AC}" srcOrd="2" destOrd="0" parTransId="{5AC984EA-1FD2-4F83-8B99-32758A45444D}" sibTransId="{01A3A92F-497F-4BC1-A587-42F055DCD2D6}"/>
    <dgm:cxn modelId="{4D07AAEE-A230-4AAD-955C-FCC63352F00A}" type="presParOf" srcId="{0A025F1C-4AAE-45FC-A927-E3283CC25B48}" destId="{9769F41A-2BBF-4AE9-92F3-74FF57001190}" srcOrd="0" destOrd="0" presId="urn:microsoft.com/office/officeart/2005/8/layout/vList4#1"/>
    <dgm:cxn modelId="{32252086-543B-4EF2-AC7E-09CB3A60F7BD}" type="presParOf" srcId="{9769F41A-2BBF-4AE9-92F3-74FF57001190}" destId="{50722C34-A323-40C2-9C8C-134F1C1DCD6D}" srcOrd="0" destOrd="0" presId="urn:microsoft.com/office/officeart/2005/8/layout/vList4#1"/>
    <dgm:cxn modelId="{9D81DA52-71B4-465C-9AD2-B43BF66F6D7A}" type="presParOf" srcId="{9769F41A-2BBF-4AE9-92F3-74FF57001190}" destId="{7AA692DF-EDC7-4E38-B472-B73043D265FE}" srcOrd="1" destOrd="0" presId="urn:microsoft.com/office/officeart/2005/8/layout/vList4#1"/>
    <dgm:cxn modelId="{6D7CA5DE-4AE7-4733-BA6D-FB9E8E818CEB}" type="presParOf" srcId="{9769F41A-2BBF-4AE9-92F3-74FF57001190}" destId="{F1BC1648-FFF2-4BB9-9087-3175ECB7EB12}" srcOrd="2" destOrd="0" presId="urn:microsoft.com/office/officeart/2005/8/layout/vList4#1"/>
    <dgm:cxn modelId="{B61E1382-C064-4796-80D8-65C72C4B51D2}" type="presParOf" srcId="{0A025F1C-4AAE-45FC-A927-E3283CC25B48}" destId="{70F12678-DFD0-49A0-B0C5-8BEF5DC9D08A}" srcOrd="1" destOrd="0" presId="urn:microsoft.com/office/officeart/2005/8/layout/vList4#1"/>
    <dgm:cxn modelId="{6CEF56C1-5955-4932-B5A5-C360F3A2C156}" type="presParOf" srcId="{0A025F1C-4AAE-45FC-A927-E3283CC25B48}" destId="{6DABC0EB-A090-47C0-A93F-FA6D94E2F6CF}" srcOrd="2" destOrd="0" presId="urn:microsoft.com/office/officeart/2005/8/layout/vList4#1"/>
    <dgm:cxn modelId="{A8F1D526-7716-4013-A235-EBC48025D7FB}" type="presParOf" srcId="{6DABC0EB-A090-47C0-A93F-FA6D94E2F6CF}" destId="{276E4CA7-DED5-4188-AF17-83B4F5F56C08}" srcOrd="0" destOrd="0" presId="urn:microsoft.com/office/officeart/2005/8/layout/vList4#1"/>
    <dgm:cxn modelId="{2814BF98-B633-44DE-B604-3206EE6A6E5A}" type="presParOf" srcId="{6DABC0EB-A090-47C0-A93F-FA6D94E2F6CF}" destId="{ADC99402-97F7-4AF8-BB31-4182A4E2A0C0}" srcOrd="1" destOrd="0" presId="urn:microsoft.com/office/officeart/2005/8/layout/vList4#1"/>
    <dgm:cxn modelId="{28BA632F-FD4D-4F6D-8D72-940DA91B8354}" type="presParOf" srcId="{6DABC0EB-A090-47C0-A93F-FA6D94E2F6CF}" destId="{AC3D2B41-714A-4D10-94B2-E1CA6456BCB6}" srcOrd="2" destOrd="0" presId="urn:microsoft.com/office/officeart/2005/8/layout/vList4#1"/>
    <dgm:cxn modelId="{4F170A72-31B5-4B95-8DD7-75C82123429E}" type="presParOf" srcId="{0A025F1C-4AAE-45FC-A927-E3283CC25B48}" destId="{65D3E07F-C39C-4A6F-B0C2-83875AB4F30B}" srcOrd="3" destOrd="0" presId="urn:microsoft.com/office/officeart/2005/8/layout/vList4#1"/>
    <dgm:cxn modelId="{FF2B827C-43AB-4148-81DE-F3B63CED53CC}" type="presParOf" srcId="{0A025F1C-4AAE-45FC-A927-E3283CC25B48}" destId="{FC6652D6-A39B-4149-B02D-3D3D3D55B6D4}" srcOrd="4" destOrd="0" presId="urn:microsoft.com/office/officeart/2005/8/layout/vList4#1"/>
    <dgm:cxn modelId="{F66DF99B-B6A9-4221-BD24-217BF57310D0}" type="presParOf" srcId="{FC6652D6-A39B-4149-B02D-3D3D3D55B6D4}" destId="{42AD0288-D823-4B5F-8F4C-628BADB5F2E3}" srcOrd="0" destOrd="0" presId="urn:microsoft.com/office/officeart/2005/8/layout/vList4#1"/>
    <dgm:cxn modelId="{2263DB91-CCE8-4B00-9A91-C2EE1F4E67A0}" type="presParOf" srcId="{FC6652D6-A39B-4149-B02D-3D3D3D55B6D4}" destId="{77A2D0BF-232B-4DD1-B42B-9FBAA613D2A6}" srcOrd="1" destOrd="0" presId="urn:microsoft.com/office/officeart/2005/8/layout/vList4#1"/>
    <dgm:cxn modelId="{62E942C0-156E-42C3-8478-BC87C17634AF}" type="presParOf" srcId="{FC6652D6-A39B-4149-B02D-3D3D3D55B6D4}" destId="{EC6BBB65-9E11-4B9A-A333-973E1C3E3312}" srcOrd="2" destOrd="0" presId="urn:microsoft.com/office/officeart/2005/8/layout/vList4#1"/>
    <dgm:cxn modelId="{073AF652-78FC-47B9-B7E6-08986EFEF7C9}" type="presParOf" srcId="{0A025F1C-4AAE-45FC-A927-E3283CC25B48}" destId="{2BEB9B13-D496-491D-8C17-1207E4D83F24}" srcOrd="5" destOrd="0" presId="urn:microsoft.com/office/officeart/2005/8/layout/vList4#1"/>
    <dgm:cxn modelId="{9D0183B4-2ED6-49C1-B53D-AB7676357F70}" type="presParOf" srcId="{0A025F1C-4AAE-45FC-A927-E3283CC25B48}" destId="{B6BC5AEB-3167-4FB1-9754-38F21443BFA5}" srcOrd="6" destOrd="0" presId="urn:microsoft.com/office/officeart/2005/8/layout/vList4#1"/>
    <dgm:cxn modelId="{3E5A1550-146D-44C4-B438-576A27B6DF14}" type="presParOf" srcId="{B6BC5AEB-3167-4FB1-9754-38F21443BFA5}" destId="{031BF10E-367D-4BFA-9655-86707F91BA7E}" srcOrd="0" destOrd="0" presId="urn:microsoft.com/office/officeart/2005/8/layout/vList4#1"/>
    <dgm:cxn modelId="{6388E5BF-3714-49E7-A40B-EFC37718EFBF}" type="presParOf" srcId="{B6BC5AEB-3167-4FB1-9754-38F21443BFA5}" destId="{F82803CA-67BF-4942-A6FE-6DAFFADB7614}" srcOrd="1" destOrd="0" presId="urn:microsoft.com/office/officeart/2005/8/layout/vList4#1"/>
    <dgm:cxn modelId="{E369E900-C384-4AB6-A8BE-3DF640A2D3B2}" type="presParOf" srcId="{B6BC5AEB-3167-4FB1-9754-38F21443BFA5}" destId="{1026436D-0145-489D-86EE-25CA770D9492}" srcOrd="2" destOrd="0" presId="urn:microsoft.com/office/officeart/2005/8/layout/vList4#1"/>
    <dgm:cxn modelId="{8372FB97-154F-4A88-99F5-216659799341}" type="presParOf" srcId="{0A025F1C-4AAE-45FC-A927-E3283CC25B48}" destId="{D3620787-AAE9-4345-AE44-E7E168B42C55}" srcOrd="7" destOrd="0" presId="urn:microsoft.com/office/officeart/2005/8/layout/vList4#1"/>
    <dgm:cxn modelId="{394752E9-F103-461E-BC11-21963F0A5D20}" type="presParOf" srcId="{0A025F1C-4AAE-45FC-A927-E3283CC25B48}" destId="{B2C2F03A-AC7E-4AA9-A426-085DEDB95612}" srcOrd="8" destOrd="0" presId="urn:microsoft.com/office/officeart/2005/8/layout/vList4#1"/>
    <dgm:cxn modelId="{BC9354F0-2C99-487B-A28E-10E1CB1B8647}" type="presParOf" srcId="{B2C2F03A-AC7E-4AA9-A426-085DEDB95612}" destId="{10A023E1-ECE4-455E-B528-CF658115F981}" srcOrd="0" destOrd="0" presId="urn:microsoft.com/office/officeart/2005/8/layout/vList4#1"/>
    <dgm:cxn modelId="{6C5CDFAF-ECC7-4265-AD2B-B83033BC7009}" type="presParOf" srcId="{B2C2F03A-AC7E-4AA9-A426-085DEDB95612}" destId="{5FBA27B3-2D9E-45FE-B4C6-5FAE9D11F1BF}" srcOrd="1" destOrd="0" presId="urn:microsoft.com/office/officeart/2005/8/layout/vList4#1"/>
    <dgm:cxn modelId="{65AD328B-7587-4BF3-B2A0-689278D2BDC6}" type="presParOf" srcId="{B2C2F03A-AC7E-4AA9-A426-085DEDB95612}" destId="{9FC5FF8C-AE73-479A-9F2A-54120409EED1}" srcOrd="2" destOrd="0" presId="urn:microsoft.com/office/officeart/2005/8/layout/vList4#1"/>
    <dgm:cxn modelId="{3437F7A9-8F5B-4B9E-AA12-BCC156782389}" type="presParOf" srcId="{0A025F1C-4AAE-45FC-A927-E3283CC25B48}" destId="{F0049994-8231-410C-B7B6-96A5B358DF06}" srcOrd="9" destOrd="0" presId="urn:microsoft.com/office/officeart/2005/8/layout/vList4#1"/>
    <dgm:cxn modelId="{57D7F573-F9B8-4846-B38F-5D85BDB125C7}" type="presParOf" srcId="{0A025F1C-4AAE-45FC-A927-E3283CC25B48}" destId="{A14F77E3-861E-42AC-B70A-85C2219829ED}" srcOrd="10" destOrd="0" presId="urn:microsoft.com/office/officeart/2005/8/layout/vList4#1"/>
    <dgm:cxn modelId="{45BAE267-69D7-4A84-AA69-C2D98B843834}" type="presParOf" srcId="{A14F77E3-861E-42AC-B70A-85C2219829ED}" destId="{A281BC3A-1B79-48E5-A79E-456C999A45AC}" srcOrd="0" destOrd="0" presId="urn:microsoft.com/office/officeart/2005/8/layout/vList4#1"/>
    <dgm:cxn modelId="{E815DDC5-1A5B-48CA-9C62-22DB924D1C9C}" type="presParOf" srcId="{A14F77E3-861E-42AC-B70A-85C2219829ED}" destId="{A82FED41-F6DB-45F6-AFB9-A5B4067D2FA1}" srcOrd="1" destOrd="0" presId="urn:microsoft.com/office/officeart/2005/8/layout/vList4#1"/>
    <dgm:cxn modelId="{4BACA511-012C-4884-A5B4-5A249A9E1E46}" type="presParOf" srcId="{A14F77E3-861E-42AC-B70A-85C2219829ED}" destId="{80799208-38D6-4413-BF85-8316F91E1433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A5165E-67D6-4469-863A-842734A92BAB}">
      <dsp:nvSpPr>
        <dsp:cNvPr id="0" name=""/>
        <dsp:cNvSpPr/>
      </dsp:nvSpPr>
      <dsp:spPr>
        <a:xfrm>
          <a:off x="2932531" y="-51902"/>
          <a:ext cx="3805453" cy="3031500"/>
        </a:xfrm>
        <a:prstGeom prst="ellipse">
          <a:avLst/>
        </a:prstGeom>
        <a:solidFill>
          <a:srgbClr val="FFCC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latin typeface="Arial" panose="020B0604020202020204" pitchFamily="34" charset="0"/>
              <a:cs typeface="Arial" panose="020B0604020202020204" pitchFamily="34" charset="0"/>
            </a:rPr>
            <a:t>Содержательная область</a:t>
          </a:r>
        </a:p>
      </dsp:txBody>
      <dsp:txXfrm>
        <a:off x="3439925" y="478610"/>
        <a:ext cx="2790665" cy="1364175"/>
      </dsp:txXfrm>
    </dsp:sp>
    <dsp:sp modelId="{22BCF64A-6A02-4793-A6ED-DED440A18AE6}">
      <dsp:nvSpPr>
        <dsp:cNvPr id="0" name=""/>
        <dsp:cNvSpPr/>
      </dsp:nvSpPr>
      <dsp:spPr>
        <a:xfrm>
          <a:off x="3227721" y="1616617"/>
          <a:ext cx="4251975" cy="3031500"/>
        </a:xfrm>
        <a:prstGeom prst="ellipse">
          <a:avLst/>
        </a:prstGeom>
        <a:solidFill>
          <a:srgbClr val="FF000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90000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latin typeface="Arial" panose="020B0604020202020204" pitchFamily="34" charset="0"/>
              <a:cs typeface="Arial" panose="020B0604020202020204" pitchFamily="34" charset="0"/>
            </a:rPr>
            <a:t>Контексты/ ситуации</a:t>
          </a:r>
        </a:p>
      </dsp:txBody>
      <dsp:txXfrm>
        <a:off x="4528117" y="2399755"/>
        <a:ext cx="2551185" cy="1667325"/>
      </dsp:txXfrm>
    </dsp:sp>
    <dsp:sp modelId="{4EECC0DA-4D37-41D6-AC54-4EFAD6D48CD5}">
      <dsp:nvSpPr>
        <dsp:cNvPr id="0" name=""/>
        <dsp:cNvSpPr/>
      </dsp:nvSpPr>
      <dsp:spPr>
        <a:xfrm>
          <a:off x="1142894" y="1530922"/>
          <a:ext cx="4364928" cy="3031500"/>
        </a:xfrm>
        <a:prstGeom prst="ellipse">
          <a:avLst/>
        </a:prstGeom>
        <a:solidFill>
          <a:schemeClr val="accent5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 err="1">
              <a:latin typeface="Arial" panose="020B0604020202020204" pitchFamily="34" charset="0"/>
              <a:cs typeface="Arial" panose="020B0604020202020204" pitchFamily="34" charset="0"/>
            </a:rPr>
            <a:t>Компетентностная</a:t>
          </a:r>
          <a:r>
            <a:rPr lang="ru-RU" sz="2000" b="1" kern="1200" dirty="0">
              <a:latin typeface="Arial" panose="020B0604020202020204" pitchFamily="34" charset="0"/>
              <a:cs typeface="Arial" panose="020B0604020202020204" pitchFamily="34" charset="0"/>
            </a:rPr>
            <a:t> область</a:t>
          </a:r>
        </a:p>
      </dsp:txBody>
      <dsp:txXfrm>
        <a:off x="1553925" y="2314060"/>
        <a:ext cx="2618956" cy="166732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722C34-A323-40C2-9C8C-134F1C1DCD6D}">
      <dsp:nvSpPr>
        <dsp:cNvPr id="0" name=""/>
        <dsp:cNvSpPr/>
      </dsp:nvSpPr>
      <dsp:spPr>
        <a:xfrm>
          <a:off x="0" y="0"/>
          <a:ext cx="10693400" cy="85704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5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Формулировать   </a:t>
          </a:r>
        </a:p>
        <a:p>
          <a:pPr marL="0" lvl="0" indent="0" algn="l" defTabSz="711200">
            <a:lnSpc>
              <a:spcPct val="5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       Применять</a:t>
          </a:r>
        </a:p>
        <a:p>
          <a:pPr marL="0" lvl="0" indent="0" algn="l" defTabSz="711200">
            <a:lnSpc>
              <a:spcPct val="5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Рассуждать</a:t>
          </a:r>
        </a:p>
        <a:p>
          <a:pPr marL="0" lvl="0" indent="0" algn="l" defTabSz="711200">
            <a:lnSpc>
              <a:spcPct val="5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       Интерпретировать</a:t>
          </a:r>
        </a:p>
      </dsp:txBody>
      <dsp:txXfrm>
        <a:off x="2224384" y="0"/>
        <a:ext cx="8469015" cy="857046"/>
      </dsp:txXfrm>
    </dsp:sp>
    <dsp:sp modelId="{7AA692DF-EDC7-4E38-B472-B73043D265FE}">
      <dsp:nvSpPr>
        <dsp:cNvPr id="0" name=""/>
        <dsp:cNvSpPr/>
      </dsp:nvSpPr>
      <dsp:spPr>
        <a:xfrm>
          <a:off x="85704" y="85704"/>
          <a:ext cx="2138680" cy="68563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6E4CA7-DED5-4188-AF17-83B4F5F56C08}">
      <dsp:nvSpPr>
        <dsp:cNvPr id="0" name=""/>
        <dsp:cNvSpPr/>
      </dsp:nvSpPr>
      <dsp:spPr>
        <a:xfrm>
          <a:off x="0" y="942751"/>
          <a:ext cx="10693400" cy="85704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Находить и извлекать информацию</a:t>
          </a:r>
        </a:p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                                         Интегрировать и интерпретировать информацию</a:t>
          </a:r>
        </a:p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Оценивать содержание и форму текста</a:t>
          </a:r>
        </a:p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                                          Использовать информацию из текста</a:t>
          </a:r>
        </a:p>
      </dsp:txBody>
      <dsp:txXfrm>
        <a:off x="2224384" y="942751"/>
        <a:ext cx="8469015" cy="857046"/>
      </dsp:txXfrm>
    </dsp:sp>
    <dsp:sp modelId="{ADC99402-97F7-4AF8-BB31-4182A4E2A0C0}">
      <dsp:nvSpPr>
        <dsp:cNvPr id="0" name=""/>
        <dsp:cNvSpPr/>
      </dsp:nvSpPr>
      <dsp:spPr>
        <a:xfrm>
          <a:off x="85704" y="1028456"/>
          <a:ext cx="2138680" cy="68563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AD0288-D823-4B5F-8F4C-628BADB5F2E3}">
      <dsp:nvSpPr>
        <dsp:cNvPr id="0" name=""/>
        <dsp:cNvSpPr/>
      </dsp:nvSpPr>
      <dsp:spPr>
        <a:xfrm>
          <a:off x="0" y="1885502"/>
          <a:ext cx="10693400" cy="85704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Научное объяснение явлений</a:t>
          </a:r>
        </a:p>
        <a:p>
          <a:pPr marL="0" lvl="0" indent="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Применение методов естественнонаучного исследования</a:t>
          </a:r>
        </a:p>
        <a:p>
          <a:pPr marL="0" lvl="0" indent="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Интерпретация данных для получения выводов</a:t>
          </a:r>
        </a:p>
      </dsp:txBody>
      <dsp:txXfrm>
        <a:off x="2224384" y="1885502"/>
        <a:ext cx="8469015" cy="857046"/>
      </dsp:txXfrm>
    </dsp:sp>
    <dsp:sp modelId="{77A2D0BF-232B-4DD1-B42B-9FBAA613D2A6}">
      <dsp:nvSpPr>
        <dsp:cNvPr id="0" name=""/>
        <dsp:cNvSpPr/>
      </dsp:nvSpPr>
      <dsp:spPr>
        <a:xfrm>
          <a:off x="85704" y="1971207"/>
          <a:ext cx="2138680" cy="68563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1BF10E-367D-4BFA-9655-86707F91BA7E}">
      <dsp:nvSpPr>
        <dsp:cNvPr id="0" name=""/>
        <dsp:cNvSpPr/>
      </dsp:nvSpPr>
      <dsp:spPr>
        <a:xfrm>
          <a:off x="0" y="2828254"/>
          <a:ext cx="10693400" cy="85704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Выявление финансовой информации</a:t>
          </a:r>
        </a:p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                                  Анализ информации в финансовом контексте</a:t>
          </a:r>
        </a:p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Оценка финансовой проблемы</a:t>
          </a:r>
        </a:p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                                 Применение финансовых знаний и понимания</a:t>
          </a:r>
        </a:p>
      </dsp:txBody>
      <dsp:txXfrm>
        <a:off x="2224384" y="2828254"/>
        <a:ext cx="8469015" cy="857046"/>
      </dsp:txXfrm>
    </dsp:sp>
    <dsp:sp modelId="{F82803CA-67BF-4942-A6FE-6DAFFADB7614}">
      <dsp:nvSpPr>
        <dsp:cNvPr id="0" name=""/>
        <dsp:cNvSpPr/>
      </dsp:nvSpPr>
      <dsp:spPr>
        <a:xfrm>
          <a:off x="85704" y="2913958"/>
          <a:ext cx="2138680" cy="68563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A023E1-ECE4-455E-B528-CF658115F981}">
      <dsp:nvSpPr>
        <dsp:cNvPr id="0" name=""/>
        <dsp:cNvSpPr/>
      </dsp:nvSpPr>
      <dsp:spPr>
        <a:xfrm>
          <a:off x="0" y="3851687"/>
          <a:ext cx="10693400" cy="85704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Выявлять мнения, подходы, перспективы</a:t>
          </a:r>
        </a:p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                                Анализировать различные мнения, подходы, перспективы </a:t>
          </a:r>
        </a:p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Объяснять сложные ситуации и проблемы</a:t>
          </a:r>
        </a:p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                                             Оценивать информацию</a:t>
          </a:r>
        </a:p>
      </dsp:txBody>
      <dsp:txXfrm>
        <a:off x="2224384" y="3851687"/>
        <a:ext cx="8469015" cy="857046"/>
      </dsp:txXfrm>
    </dsp:sp>
    <dsp:sp modelId="{5FBA27B3-2D9E-45FE-B4C6-5FAE9D11F1BF}">
      <dsp:nvSpPr>
        <dsp:cNvPr id="0" name=""/>
        <dsp:cNvSpPr/>
      </dsp:nvSpPr>
      <dsp:spPr>
        <a:xfrm>
          <a:off x="85704" y="3856710"/>
          <a:ext cx="2138680" cy="68563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81BC3A-1B79-48E5-A79E-456C999A45AC}">
      <dsp:nvSpPr>
        <dsp:cNvPr id="0" name=""/>
        <dsp:cNvSpPr/>
      </dsp:nvSpPr>
      <dsp:spPr>
        <a:xfrm>
          <a:off x="0" y="4713756"/>
          <a:ext cx="10693400" cy="85704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Выдвижение разнообразных идей</a:t>
          </a:r>
        </a:p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                              Отбор креативных идей</a:t>
          </a:r>
        </a:p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Доработка идеи</a:t>
          </a:r>
        </a:p>
        <a:p>
          <a:pPr marL="0" lvl="0" indent="0" algn="l" defTabSz="711200">
            <a:lnSpc>
              <a:spcPct val="7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                              Выдвижение креативной идеи</a:t>
          </a:r>
        </a:p>
      </dsp:txBody>
      <dsp:txXfrm>
        <a:off x="2224384" y="4713756"/>
        <a:ext cx="8469015" cy="857046"/>
      </dsp:txXfrm>
    </dsp:sp>
    <dsp:sp modelId="{A82FED41-F6DB-45F6-AFB9-A5B4067D2FA1}">
      <dsp:nvSpPr>
        <dsp:cNvPr id="0" name=""/>
        <dsp:cNvSpPr/>
      </dsp:nvSpPr>
      <dsp:spPr>
        <a:xfrm>
          <a:off x="85704" y="4799461"/>
          <a:ext cx="2138680" cy="68563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722C34-A323-40C2-9C8C-134F1C1DCD6D}">
      <dsp:nvSpPr>
        <dsp:cNvPr id="0" name=""/>
        <dsp:cNvSpPr/>
      </dsp:nvSpPr>
      <dsp:spPr>
        <a:xfrm>
          <a:off x="0" y="0"/>
          <a:ext cx="10693400" cy="80686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85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Общественный</a:t>
          </a:r>
        </a:p>
        <a:p>
          <a:pPr marL="0" lvl="0" indent="0" algn="l" defTabSz="711200">
            <a:lnSpc>
              <a:spcPct val="85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Научная деятельность</a:t>
          </a:r>
        </a:p>
        <a:p>
          <a:pPr marL="0" lvl="0" indent="0" algn="l" defTabSz="711200">
            <a:lnSpc>
              <a:spcPct val="85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Личный</a:t>
          </a:r>
        </a:p>
      </dsp:txBody>
      <dsp:txXfrm>
        <a:off x="2219366" y="0"/>
        <a:ext cx="8474033" cy="806866"/>
      </dsp:txXfrm>
    </dsp:sp>
    <dsp:sp modelId="{7AA692DF-EDC7-4E38-B472-B73043D265FE}">
      <dsp:nvSpPr>
        <dsp:cNvPr id="0" name=""/>
        <dsp:cNvSpPr/>
      </dsp:nvSpPr>
      <dsp:spPr>
        <a:xfrm>
          <a:off x="80686" y="80686"/>
          <a:ext cx="2138680" cy="64549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6E4CA7-DED5-4188-AF17-83B4F5F56C08}">
      <dsp:nvSpPr>
        <dsp:cNvPr id="0" name=""/>
        <dsp:cNvSpPr/>
      </dsp:nvSpPr>
      <dsp:spPr>
        <a:xfrm>
          <a:off x="0" y="887552"/>
          <a:ext cx="10693400" cy="80686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Образовательный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Личный </a:t>
          </a:r>
        </a:p>
      </dsp:txBody>
      <dsp:txXfrm>
        <a:off x="2219366" y="887552"/>
        <a:ext cx="8474033" cy="806866"/>
      </dsp:txXfrm>
    </dsp:sp>
    <dsp:sp modelId="{ADC99402-97F7-4AF8-BB31-4182A4E2A0C0}">
      <dsp:nvSpPr>
        <dsp:cNvPr id="0" name=""/>
        <dsp:cNvSpPr/>
      </dsp:nvSpPr>
      <dsp:spPr>
        <a:xfrm>
          <a:off x="80686" y="968239"/>
          <a:ext cx="2138680" cy="64549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AD0288-D823-4B5F-8F4C-628BADB5F2E3}">
      <dsp:nvSpPr>
        <dsp:cNvPr id="0" name=""/>
        <dsp:cNvSpPr/>
      </dsp:nvSpPr>
      <dsp:spPr>
        <a:xfrm>
          <a:off x="0" y="1800417"/>
          <a:ext cx="10693400" cy="80686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85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Научный</a:t>
          </a:r>
        </a:p>
        <a:p>
          <a:pPr marL="0" lvl="0" indent="0" algn="l" defTabSz="711200">
            <a:lnSpc>
              <a:spcPct val="85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Общественный</a:t>
          </a:r>
        </a:p>
        <a:p>
          <a:pPr marL="0" lvl="0" indent="0" algn="l" defTabSz="711200">
            <a:lnSpc>
              <a:spcPct val="85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Изобретательство</a:t>
          </a:r>
        </a:p>
      </dsp:txBody>
      <dsp:txXfrm>
        <a:off x="2219366" y="1800417"/>
        <a:ext cx="8474033" cy="806866"/>
      </dsp:txXfrm>
    </dsp:sp>
    <dsp:sp modelId="{77A2D0BF-232B-4DD1-B42B-9FBAA613D2A6}">
      <dsp:nvSpPr>
        <dsp:cNvPr id="0" name=""/>
        <dsp:cNvSpPr/>
      </dsp:nvSpPr>
      <dsp:spPr>
        <a:xfrm>
          <a:off x="80686" y="1855792"/>
          <a:ext cx="2138680" cy="64549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1BF10E-367D-4BFA-9655-86707F91BA7E}">
      <dsp:nvSpPr>
        <dsp:cNvPr id="0" name=""/>
        <dsp:cNvSpPr/>
      </dsp:nvSpPr>
      <dsp:spPr>
        <a:xfrm>
          <a:off x="0" y="2662658"/>
          <a:ext cx="10693400" cy="80686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Личные траты, досуг и отдых</a:t>
          </a:r>
        </a:p>
        <a:p>
          <a:pPr marL="0" lvl="0" indent="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                      Гражданин и сообщество</a:t>
          </a:r>
        </a:p>
        <a:p>
          <a:pPr marL="0" lvl="0" indent="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Дом и семья</a:t>
          </a:r>
        </a:p>
        <a:p>
          <a:pPr marL="0" lvl="0" indent="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       Личный</a:t>
          </a:r>
        </a:p>
      </dsp:txBody>
      <dsp:txXfrm>
        <a:off x="2219366" y="2662658"/>
        <a:ext cx="8474033" cy="806866"/>
      </dsp:txXfrm>
    </dsp:sp>
    <dsp:sp modelId="{F82803CA-67BF-4942-A6FE-6DAFFADB7614}">
      <dsp:nvSpPr>
        <dsp:cNvPr id="0" name=""/>
        <dsp:cNvSpPr/>
      </dsp:nvSpPr>
      <dsp:spPr>
        <a:xfrm>
          <a:off x="80686" y="2743345"/>
          <a:ext cx="2138680" cy="64549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A023E1-ECE4-455E-B528-CF658115F981}">
      <dsp:nvSpPr>
        <dsp:cNvPr id="0" name=""/>
        <dsp:cNvSpPr/>
      </dsp:nvSpPr>
      <dsp:spPr>
        <a:xfrm>
          <a:off x="0" y="3550211"/>
          <a:ext cx="10693400" cy="80686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Личный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Общественный</a:t>
          </a:r>
        </a:p>
      </dsp:txBody>
      <dsp:txXfrm>
        <a:off x="2219366" y="3550211"/>
        <a:ext cx="8474033" cy="806866"/>
      </dsp:txXfrm>
    </dsp:sp>
    <dsp:sp modelId="{5FBA27B3-2D9E-45FE-B4C6-5FAE9D11F1BF}">
      <dsp:nvSpPr>
        <dsp:cNvPr id="0" name=""/>
        <dsp:cNvSpPr/>
      </dsp:nvSpPr>
      <dsp:spPr>
        <a:xfrm>
          <a:off x="80686" y="3630897"/>
          <a:ext cx="2138680" cy="64549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81BC3A-1B79-48E5-A79E-456C999A45AC}">
      <dsp:nvSpPr>
        <dsp:cNvPr id="0" name=""/>
        <dsp:cNvSpPr/>
      </dsp:nvSpPr>
      <dsp:spPr>
        <a:xfrm>
          <a:off x="0" y="4429154"/>
          <a:ext cx="10693400" cy="80686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Общественный</a:t>
          </a:r>
        </a:p>
        <a:p>
          <a:pPr marL="0" lvl="0" indent="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                                      Изобретательство</a:t>
          </a:r>
        </a:p>
        <a:p>
          <a:pPr marL="0" lvl="0" indent="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600" kern="1200" dirty="0"/>
            <a:t>Научный</a:t>
          </a:r>
        </a:p>
      </dsp:txBody>
      <dsp:txXfrm>
        <a:off x="2219366" y="4429154"/>
        <a:ext cx="8474033" cy="806866"/>
      </dsp:txXfrm>
    </dsp:sp>
    <dsp:sp modelId="{A82FED41-F6DB-45F6-AFB9-A5B4067D2FA1}">
      <dsp:nvSpPr>
        <dsp:cNvPr id="0" name=""/>
        <dsp:cNvSpPr/>
      </dsp:nvSpPr>
      <dsp:spPr>
        <a:xfrm>
          <a:off x="80686" y="4518450"/>
          <a:ext cx="2138680" cy="64549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#2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A546F4-3602-4837-BFFD-3E3B4BA3A09D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12738" y="744538"/>
            <a:ext cx="61722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ru-RU" dirty="0" err="1"/>
              <a:t>Енка</a:t>
            </a:r>
            <a:r>
              <a:rPr lang="ru-RU" dirty="0"/>
              <a:t> </a:t>
            </a:r>
            <a:r>
              <a:rPr lang="ru-RU" dirty="0" err="1"/>
              <a:t>стра</a:t>
            </a:r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6E0C06-5FE1-4F23-A7EB-1A222EB9CE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2714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7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3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0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7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34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9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26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73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400" dirty="0"/>
              <a:t>До 2024 года в целях осуществления прорывного научно-технического и социально-экономического развития страны планируется обеспечение вхождения России в число пяти крупнейших экономик мира, в том числе обеспечение темпов экономического роста выше мировых. Правительству РФ поручено обеспечить глобальную конкурентоспособность российского образования, вхождение Российской Федерации в число 10 ведущих стран мира по качеству общего образования.</a:t>
            </a:r>
          </a:p>
          <a:p>
            <a:endParaRPr lang="ru-RU" sz="1400" dirty="0"/>
          </a:p>
          <a:p>
            <a:endParaRPr lang="ru-RU" sz="1400" dirty="0"/>
          </a:p>
          <a:p>
            <a:r>
              <a:rPr lang="ru-RU" sz="1400" dirty="0"/>
              <a:t>Повышение  качества  общего образования , реализация  указов президента России может быть обеспечена успешной реализацией ФГОС общего образования, т.е. за счет  формирования  функциональной грамотности, достижения планируемых предметных, </a:t>
            </a:r>
            <a:r>
              <a:rPr lang="ru-RU" sz="1400" dirty="0" err="1"/>
              <a:t>метапредметных</a:t>
            </a:r>
            <a:r>
              <a:rPr lang="ru-RU" sz="1400" dirty="0"/>
              <a:t> и личностных результатов, если в учебном процессе реализован комплексный </a:t>
            </a:r>
            <a:r>
              <a:rPr lang="ru-RU" sz="1400" dirty="0" err="1"/>
              <a:t>системно-деятельностный</a:t>
            </a:r>
            <a:r>
              <a:rPr lang="ru-RU" sz="1400" dirty="0"/>
              <a:t> подход, если процесс обучения идет как процесс решения учащимися различных классов учебно-познавательных и учебно-практических задач, задач на применение или перенос тех знаний и тех умений, которые учитель формирует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20726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E358DA-AB7E-4255-89C5-8DC93C0A79E6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42673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7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949">
              <a:defRPr/>
            </a:pPr>
            <a:r>
              <a:rPr lang="ru-RU" sz="1400" b="1" dirty="0"/>
              <a:t>Типы текста: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/>
              <a:t>Повествование</a:t>
            </a:r>
          </a:p>
          <a:p>
            <a:pPr marL="629027" lvl="1" indent="-171553">
              <a:buFont typeface="Arial" panose="020B0604020202020204" pitchFamily="34" charset="0"/>
              <a:buChar char="•"/>
            </a:pPr>
            <a:r>
              <a:rPr lang="ru-RU" dirty="0"/>
              <a:t>Рассуждение</a:t>
            </a:r>
          </a:p>
          <a:p>
            <a:pPr marL="629027" lvl="1" indent="-171553">
              <a:buFont typeface="Arial" panose="020B0604020202020204" pitchFamily="34" charset="0"/>
              <a:buChar char="•"/>
            </a:pPr>
            <a:r>
              <a:rPr lang="ru-RU" dirty="0"/>
              <a:t>Описание</a:t>
            </a:r>
          </a:p>
          <a:p>
            <a:pPr marL="629027" lvl="1" indent="-171553">
              <a:buFont typeface="Arial" panose="020B0604020202020204" pitchFamily="34" charset="0"/>
              <a:buChar char="•"/>
            </a:pPr>
            <a:r>
              <a:rPr lang="ru-RU" dirty="0"/>
              <a:t>Толкование</a:t>
            </a:r>
          </a:p>
          <a:p>
            <a:pPr marL="629027" lvl="1" indent="-171553">
              <a:buFont typeface="Arial" panose="020B0604020202020204" pitchFamily="34" charset="0"/>
              <a:buChar char="•"/>
            </a:pPr>
            <a:r>
              <a:rPr lang="ru-RU" dirty="0"/>
              <a:t>Инструкци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/>
              <a:t>Переговоры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/>
              <a:t>Обсуждение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/>
              <a:t>Множественный тип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 defTabSz="914949">
              <a:defRPr/>
            </a:pPr>
            <a:r>
              <a:rPr lang="ru-RU" b="1" dirty="0"/>
              <a:t>Форматы</a:t>
            </a:r>
            <a:r>
              <a:rPr lang="ru-RU" b="1" baseline="0" dirty="0"/>
              <a:t> текста:</a:t>
            </a:r>
            <a:endParaRPr lang="ru-RU" b="1" dirty="0"/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/>
              <a:t>Сплошной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err="1"/>
              <a:t>Несплошной</a:t>
            </a:r>
            <a:endParaRPr lang="ru-RU" dirty="0"/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/>
              <a:t>Множественный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 defTabSz="914949">
              <a:defRPr/>
            </a:pPr>
            <a:r>
              <a:rPr lang="ru-RU" b="1" dirty="0"/>
              <a:t>Ситуации функционирования текста: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/>
              <a:t>Учебн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/>
              <a:t>Делов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/>
              <a:t>Личн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/>
              <a:t>Общественн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/>
              <a:t>Множественн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E358DA-AB7E-4255-89C5-8DC93C0A79E6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18973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8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9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0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91066" y="2225605"/>
            <a:ext cx="10098723" cy="1535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82130" y="4059820"/>
            <a:ext cx="8316595" cy="18308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8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1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13618" y="286908"/>
            <a:ext cx="2673191" cy="611294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4044" y="286908"/>
            <a:ext cx="7821560" cy="611294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7600240"/>
              </p:ext>
            </p:extLst>
          </p:nvPr>
        </p:nvGraphicFramePr>
        <p:xfrm>
          <a:off x="1551" y="1660"/>
          <a:ext cx="1547" cy="16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1" y="1660"/>
                        <a:ext cx="1547" cy="16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4701" cy="165842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594043" y="6640325"/>
            <a:ext cx="2772198" cy="381438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064595" y="4099906"/>
            <a:ext cx="5363340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195505" y="5348698"/>
            <a:ext cx="2865755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 err="1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</p:spTree>
    <p:extLst>
      <p:ext uri="{BB962C8B-B14F-4D97-AF65-F5344CB8AC3E}">
        <p14:creationId xmlns:p14="http://schemas.microsoft.com/office/powerpoint/2010/main" val="71119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775005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38508" y="4603785"/>
            <a:ext cx="10098723" cy="1422928"/>
          </a:xfrm>
        </p:spPr>
        <p:txBody>
          <a:bodyPr anchor="t"/>
          <a:lstStyle>
            <a:lvl1pPr algn="l">
              <a:defRPr sz="47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38508" y="3036576"/>
            <a:ext cx="10098723" cy="1567210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2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5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5638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1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4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7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89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2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94047" y="1671693"/>
            <a:ext cx="5247375" cy="47281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39435" y="1671693"/>
            <a:ext cx="5247375" cy="47281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4045" y="1603698"/>
            <a:ext cx="5249437" cy="668343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284" indent="0">
              <a:buNone/>
              <a:defRPr sz="2300" b="1"/>
            </a:lvl2pPr>
            <a:lvl3pPr marL="1042569" indent="0">
              <a:buNone/>
              <a:defRPr sz="2100" b="1"/>
            </a:lvl3pPr>
            <a:lvl4pPr marL="1563853" indent="0">
              <a:buNone/>
              <a:defRPr sz="1900" b="1"/>
            </a:lvl4pPr>
            <a:lvl5pPr marL="2085137" indent="0">
              <a:buNone/>
              <a:defRPr sz="1900" b="1"/>
            </a:lvl5pPr>
            <a:lvl6pPr marL="2606422" indent="0">
              <a:buNone/>
              <a:defRPr sz="1900" b="1"/>
            </a:lvl6pPr>
            <a:lvl7pPr marL="3127706" indent="0">
              <a:buNone/>
              <a:defRPr sz="1900" b="1"/>
            </a:lvl7pPr>
            <a:lvl8pPr marL="3648990" indent="0">
              <a:buNone/>
              <a:defRPr sz="1900" b="1"/>
            </a:lvl8pPr>
            <a:lvl9pPr marL="4170275" indent="0">
              <a:buNone/>
              <a:defRPr sz="19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94045" y="2272043"/>
            <a:ext cx="5249437" cy="4127814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035309" y="1603698"/>
            <a:ext cx="5251501" cy="668343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284" indent="0">
              <a:buNone/>
              <a:defRPr sz="2300" b="1"/>
            </a:lvl2pPr>
            <a:lvl3pPr marL="1042569" indent="0">
              <a:buNone/>
              <a:defRPr sz="2100" b="1"/>
            </a:lvl3pPr>
            <a:lvl4pPr marL="1563853" indent="0">
              <a:buNone/>
              <a:defRPr sz="1900" b="1"/>
            </a:lvl4pPr>
            <a:lvl5pPr marL="2085137" indent="0">
              <a:buNone/>
              <a:defRPr sz="1900" b="1"/>
            </a:lvl5pPr>
            <a:lvl6pPr marL="2606422" indent="0">
              <a:buNone/>
              <a:defRPr sz="1900" b="1"/>
            </a:lvl6pPr>
            <a:lvl7pPr marL="3127706" indent="0">
              <a:buNone/>
              <a:defRPr sz="1900" b="1"/>
            </a:lvl7pPr>
            <a:lvl8pPr marL="3648990" indent="0">
              <a:buNone/>
              <a:defRPr sz="1900" b="1"/>
            </a:lvl8pPr>
            <a:lvl9pPr marL="4170275" indent="0">
              <a:buNone/>
              <a:defRPr sz="19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035309" y="2272043"/>
            <a:ext cx="5251501" cy="4127814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6" y="285251"/>
            <a:ext cx="3908718" cy="121396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45084" y="285251"/>
            <a:ext cx="6641725" cy="6114606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94046" y="1499216"/>
            <a:ext cx="3908718" cy="4900641"/>
          </a:xfrm>
        </p:spPr>
        <p:txBody>
          <a:bodyPr/>
          <a:lstStyle>
            <a:lvl1pPr marL="0" indent="0">
              <a:buNone/>
              <a:defRPr sz="1600"/>
            </a:lvl1pPr>
            <a:lvl2pPr marL="521284" indent="0">
              <a:buNone/>
              <a:defRPr sz="1500"/>
            </a:lvl2pPr>
            <a:lvl3pPr marL="1042569" indent="0">
              <a:buNone/>
              <a:defRPr sz="1100"/>
            </a:lvl3pPr>
            <a:lvl4pPr marL="1563853" indent="0">
              <a:buNone/>
              <a:defRPr sz="1100"/>
            </a:lvl4pPr>
            <a:lvl5pPr marL="2085137" indent="0">
              <a:buNone/>
              <a:defRPr sz="1100"/>
            </a:lvl5pPr>
            <a:lvl6pPr marL="2606422" indent="0">
              <a:buNone/>
              <a:defRPr sz="1100"/>
            </a:lvl6pPr>
            <a:lvl7pPr marL="3127706" indent="0">
              <a:buNone/>
              <a:defRPr sz="1100"/>
            </a:lvl7pPr>
            <a:lvl8pPr marL="3648990" indent="0">
              <a:buNone/>
              <a:defRPr sz="1100"/>
            </a:lvl8pPr>
            <a:lvl9pPr marL="417027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28730" y="5015073"/>
            <a:ext cx="7128510" cy="592058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28730" y="640151"/>
            <a:ext cx="7128510" cy="4298633"/>
          </a:xfrm>
        </p:spPr>
        <p:txBody>
          <a:bodyPr/>
          <a:lstStyle>
            <a:lvl1pPr marL="0" indent="0">
              <a:buNone/>
              <a:defRPr sz="3600"/>
            </a:lvl1pPr>
            <a:lvl2pPr marL="521284" indent="0">
              <a:buNone/>
              <a:defRPr sz="3200"/>
            </a:lvl2pPr>
            <a:lvl3pPr marL="1042569" indent="0">
              <a:buNone/>
              <a:defRPr sz="2700"/>
            </a:lvl3pPr>
            <a:lvl4pPr marL="1563853" indent="0">
              <a:buNone/>
              <a:defRPr sz="2300"/>
            </a:lvl4pPr>
            <a:lvl5pPr marL="2085137" indent="0">
              <a:buNone/>
              <a:defRPr sz="2300"/>
            </a:lvl5pPr>
            <a:lvl6pPr marL="2606422" indent="0">
              <a:buNone/>
              <a:defRPr sz="2300"/>
            </a:lvl6pPr>
            <a:lvl7pPr marL="3127706" indent="0">
              <a:buNone/>
              <a:defRPr sz="2300"/>
            </a:lvl7pPr>
            <a:lvl8pPr marL="3648990" indent="0">
              <a:buNone/>
              <a:defRPr sz="2300"/>
            </a:lvl8pPr>
            <a:lvl9pPr marL="4170275" indent="0">
              <a:buNone/>
              <a:defRPr sz="23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28730" y="5607131"/>
            <a:ext cx="7128510" cy="840819"/>
          </a:xfrm>
        </p:spPr>
        <p:txBody>
          <a:bodyPr/>
          <a:lstStyle>
            <a:lvl1pPr marL="0" indent="0">
              <a:buNone/>
              <a:defRPr sz="1600"/>
            </a:lvl1pPr>
            <a:lvl2pPr marL="521284" indent="0">
              <a:buNone/>
              <a:defRPr sz="1500"/>
            </a:lvl2pPr>
            <a:lvl3pPr marL="1042569" indent="0">
              <a:buNone/>
              <a:defRPr sz="1100"/>
            </a:lvl3pPr>
            <a:lvl4pPr marL="1563853" indent="0">
              <a:buNone/>
              <a:defRPr sz="1100"/>
            </a:lvl4pPr>
            <a:lvl5pPr marL="2085137" indent="0">
              <a:buNone/>
              <a:defRPr sz="1100"/>
            </a:lvl5pPr>
            <a:lvl6pPr marL="2606422" indent="0">
              <a:buNone/>
              <a:defRPr sz="1100"/>
            </a:lvl6pPr>
            <a:lvl7pPr marL="3127706" indent="0">
              <a:buNone/>
              <a:defRPr sz="1100"/>
            </a:lvl7pPr>
            <a:lvl8pPr marL="3648990" indent="0">
              <a:buNone/>
              <a:defRPr sz="1100"/>
            </a:lvl8pPr>
            <a:lvl9pPr marL="4170275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alphaModFix amt="2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194065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4044" y="1671693"/>
            <a:ext cx="10692765" cy="4728165"/>
          </a:xfrm>
          <a:prstGeom prst="rect">
            <a:avLst/>
          </a:prstGeom>
        </p:spPr>
        <p:txBody>
          <a:bodyPr vert="horz" lIns="104257" tIns="52128" rIns="104257" bIns="5212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94043" y="6640325"/>
            <a:ext cx="2772198" cy="381438"/>
          </a:xfrm>
          <a:prstGeom prst="rect">
            <a:avLst/>
          </a:prstGeom>
        </p:spPr>
        <p:txBody>
          <a:bodyPr vert="horz" lIns="104257" tIns="52128" rIns="104257" bIns="52128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0BE020-E3D2-4B40-A05B-7CD782450F67}" type="datetimeFigureOut">
              <a:rPr lang="ru-RU" smtClean="0"/>
              <a:pPr/>
              <a:t>30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59292" y="6640325"/>
            <a:ext cx="3762269" cy="381438"/>
          </a:xfrm>
          <a:prstGeom prst="rect">
            <a:avLst/>
          </a:prstGeom>
        </p:spPr>
        <p:txBody>
          <a:bodyPr vert="horz" lIns="104257" tIns="52128" rIns="104257" bIns="52128" rtlCol="0" anchor="ctr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14611" y="6640325"/>
            <a:ext cx="2772198" cy="381438"/>
          </a:xfrm>
          <a:prstGeom prst="rect">
            <a:avLst/>
          </a:prstGeom>
        </p:spPr>
        <p:txBody>
          <a:bodyPr vert="horz" lIns="104257" tIns="52128" rIns="104257" bIns="52128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6" r:id="rId12"/>
  </p:sldLayoutIdLst>
  <p:txStyles>
    <p:titleStyle>
      <a:lvl1pPr algn="ctr" defTabSz="1042569" rtl="0" eaLnBrk="1" latinLnBrk="0" hangingPunct="1">
        <a:spcBef>
          <a:spcPct val="0"/>
        </a:spcBef>
        <a:buNone/>
        <a:defRPr sz="5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0964" indent="-390964" algn="l" defTabSz="1042569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087" indent="-325803" algn="l" defTabSz="1042569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211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4494" indent="-260643" algn="l" defTabSz="1042569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5779" indent="-260643" algn="l" defTabSz="1042569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063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349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9633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0917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84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569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853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137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422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7706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990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275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10" Type="http://schemas.openxmlformats.org/officeDocument/2006/relationships/image" Target="../media/image21.jpeg"/><Relationship Id="rId4" Type="http://schemas.openxmlformats.org/officeDocument/2006/relationships/image" Target="../media/image15.jpeg"/><Relationship Id="rId9" Type="http://schemas.openxmlformats.org/officeDocument/2006/relationships/image" Target="../media/image2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827857" y="1796244"/>
            <a:ext cx="9721080" cy="40472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/>
              <a:t>Проведение мониторингового исследования по функциональной грамотности обучающихся 5 классов общеобразовательных организаций</a:t>
            </a:r>
          </a:p>
          <a:p>
            <a:pPr algn="ctr"/>
            <a:r>
              <a:rPr lang="ru-RU" sz="3200" dirty="0"/>
              <a:t>Особенности диагностической работы</a:t>
            </a:r>
          </a:p>
          <a:p>
            <a:pPr algn="ctr"/>
            <a:br>
              <a:rPr lang="ru-RU" sz="3600" dirty="0"/>
            </a:br>
            <a:br>
              <a:rPr lang="ru-RU" sz="3600" b="1" i="1" dirty="0"/>
            </a:br>
            <a:br>
              <a:rPr lang="ru-RU" sz="3600" i="1" dirty="0"/>
            </a:b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852193" cy="1277938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225517" y="4582326"/>
            <a:ext cx="9787006" cy="1135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80000"/>
              </a:lnSpc>
            </a:pPr>
            <a:r>
              <a:rPr lang="ru-RU" sz="2800" i="1" dirty="0"/>
              <a:t>Ковалева Галина Сергеевна, руководитель Центра оценки качества образования Института стратегии развития образования Российской академии образования, к.п.н.</a:t>
            </a:r>
            <a:endParaRPr lang="en-US" sz="2800" b="1" i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0"/>
            <a:ext cx="10692765" cy="1510492"/>
          </a:xfrm>
        </p:spPr>
        <p:txBody>
          <a:bodyPr>
            <a:normAutofit/>
          </a:bodyPr>
          <a:lstStyle/>
          <a:p>
            <a:r>
              <a:rPr lang="ru-RU" dirty="0"/>
              <a:t>Характеристика заданий: </a:t>
            </a:r>
            <a:r>
              <a:rPr lang="ru-RU" i="1" dirty="0"/>
              <a:t>способ проверки</a:t>
            </a:r>
            <a:br>
              <a:rPr lang="ru-RU" i="1" dirty="0"/>
            </a:br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-2628527" y="896688"/>
            <a:ext cx="10692765" cy="775005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600" i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99865" y="1998018"/>
            <a:ext cx="9252344" cy="2432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1112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833236"/>
              </p:ext>
            </p:extLst>
          </p:nvPr>
        </p:nvGraphicFramePr>
        <p:xfrm>
          <a:off x="939765" y="761512"/>
          <a:ext cx="8478411" cy="64028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1576">
                  <a:extLst>
                    <a:ext uri="{9D8B030D-6E8A-4147-A177-3AD203B41FA5}">
                      <a16:colId xmlns:a16="http://schemas.microsoft.com/office/drawing/2014/main" val="2436076313"/>
                    </a:ext>
                  </a:extLst>
                </a:gridCol>
                <a:gridCol w="2218518">
                  <a:extLst>
                    <a:ext uri="{9D8B030D-6E8A-4147-A177-3AD203B41FA5}">
                      <a16:colId xmlns:a16="http://schemas.microsoft.com/office/drawing/2014/main" val="3229471653"/>
                    </a:ext>
                  </a:extLst>
                </a:gridCol>
                <a:gridCol w="1838878">
                  <a:extLst>
                    <a:ext uri="{9D8B030D-6E8A-4147-A177-3AD203B41FA5}">
                      <a16:colId xmlns:a16="http://schemas.microsoft.com/office/drawing/2014/main" val="4271328399"/>
                    </a:ext>
                  </a:extLst>
                </a:gridCol>
                <a:gridCol w="2004970">
                  <a:extLst>
                    <a:ext uri="{9D8B030D-6E8A-4147-A177-3AD203B41FA5}">
                      <a16:colId xmlns:a16="http://schemas.microsoft.com/office/drawing/2014/main" val="1723654285"/>
                    </a:ext>
                  </a:extLst>
                </a:gridCol>
                <a:gridCol w="1874469">
                  <a:extLst>
                    <a:ext uri="{9D8B030D-6E8A-4147-A177-3AD203B41FA5}">
                      <a16:colId xmlns:a16="http://schemas.microsoft.com/office/drawing/2014/main" val="897803563"/>
                    </a:ext>
                  </a:extLst>
                </a:gridCol>
              </a:tblGrid>
              <a:tr h="7986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1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1: Благоустройство город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2: Будьте </a:t>
                      </a:r>
                      <a:r>
                        <a:rPr lang="ru-RU" sz="1900" u="none" strike="noStrike" dirty="0" err="1">
                          <a:effectLst/>
                        </a:rPr>
                        <a:t>здоровы_ГП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1: Мир размером с пуговиц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1: Интересное </a:t>
                      </a:r>
                      <a:r>
                        <a:rPr lang="ru-RU" sz="1900" u="none" strike="noStrike" dirty="0" err="1">
                          <a:effectLst/>
                        </a:rPr>
                        <a:t>хобби+Самокат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651537"/>
                  </a:ext>
                </a:extLst>
              </a:tr>
              <a:tr h="85876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2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1: Как сберечь родной </a:t>
                      </a:r>
                      <a:r>
                        <a:rPr lang="ru-RU" sz="1900" u="none" strike="noStrike" dirty="0" err="1">
                          <a:effectLst/>
                        </a:rPr>
                        <a:t>язык_МВ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2: Вездесущий углерод/Из чего сделан снег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_4 класс: Удивительная женщина-ученый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1: </a:t>
                      </a:r>
                      <a:r>
                        <a:rPr lang="ru-RU" sz="1900" u="none" strike="noStrike" dirty="0" err="1">
                          <a:effectLst/>
                        </a:rPr>
                        <a:t>Конструктор+Колесо</a:t>
                      </a:r>
                      <a:r>
                        <a:rPr lang="ru-RU" sz="1900" u="none" strike="noStrike" dirty="0">
                          <a:effectLst/>
                        </a:rPr>
                        <a:t> обозрения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5660005"/>
                  </a:ext>
                </a:extLst>
              </a:tr>
              <a:tr h="106320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3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1: Интересное </a:t>
                      </a:r>
                      <a:r>
                        <a:rPr lang="ru-RU" sz="1900" u="none" strike="noStrike" dirty="0" err="1">
                          <a:effectLst/>
                        </a:rPr>
                        <a:t>хобби+Самокат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_4 класс: </a:t>
                      </a:r>
                      <a:r>
                        <a:rPr lang="ru-RU" sz="1900" u="none" strike="noStrike" dirty="0" err="1">
                          <a:effectLst/>
                        </a:rPr>
                        <a:t>Почта+Кафе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1: Откуда берутся звуки? /Наблюдать бактерии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1: Благоустройство город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834813"/>
                  </a:ext>
                </a:extLst>
              </a:tr>
              <a:tr h="13277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4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1: </a:t>
                      </a:r>
                      <a:r>
                        <a:rPr lang="ru-RU" sz="1900" u="none" strike="noStrike" dirty="0" err="1">
                          <a:effectLst/>
                        </a:rPr>
                        <a:t>Конструктор+Колесо</a:t>
                      </a:r>
                      <a:r>
                        <a:rPr lang="ru-RU" sz="1900" u="none" strike="noStrike" dirty="0">
                          <a:effectLst/>
                        </a:rPr>
                        <a:t> обозрения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_4 класс: Сохраним планет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2: На летний отдых + Подарочная карт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2: Первый человек в открытом космическом пространстве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277240"/>
                  </a:ext>
                </a:extLst>
              </a:tr>
              <a:tr h="106320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5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1: Мир размером с пуговиц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2:Вод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2: Детская железная </a:t>
                      </a:r>
                      <a:r>
                        <a:rPr lang="ru-RU" sz="1900" u="none" strike="noStrike" dirty="0" err="1">
                          <a:effectLst/>
                        </a:rPr>
                        <a:t>дорога+Фотоальбом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_4 класс: Почему стекла потеют? Угадай планет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117789"/>
                  </a:ext>
                </a:extLst>
              </a:tr>
              <a:tr h="85876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6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1: Откуда берутся звуки? /Наблюдать бактерии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_4 класс: Волшебная стран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3: Услуги почты + Карта для Арины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1: Как сберечь родной </a:t>
                      </a:r>
                      <a:r>
                        <a:rPr lang="ru-RU" sz="1900" u="none" strike="noStrike" dirty="0" err="1">
                          <a:effectLst/>
                        </a:rPr>
                        <a:t>язык_МВ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extLst>
                  <a:ext uri="{0D108BD9-81ED-4DB2-BD59-A6C34878D82A}">
                    <a16:rowId xmlns:a16="http://schemas.microsoft.com/office/drawing/2014/main" val="875143915"/>
                  </a:ext>
                </a:extLst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-1194975" y="-367007"/>
            <a:ext cx="12850440" cy="116311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/>
              <a:t>Дизайн вариантов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442961" y="3225004"/>
            <a:ext cx="227973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u="sng" dirty="0"/>
              <a:t>Количество направлений: </a:t>
            </a:r>
            <a:r>
              <a:rPr lang="ru-RU" b="1" i="1" dirty="0"/>
              <a:t>6 </a:t>
            </a:r>
          </a:p>
          <a:p>
            <a:r>
              <a:rPr lang="ru-RU" i="1" u="sng" dirty="0"/>
              <a:t>Количество вариантов: </a:t>
            </a:r>
            <a:r>
              <a:rPr lang="ru-RU" b="1" i="1" dirty="0"/>
              <a:t>6 </a:t>
            </a:r>
          </a:p>
          <a:p>
            <a:r>
              <a:rPr lang="ru-RU" i="1" u="sng" dirty="0"/>
              <a:t>Время выполнения блока: </a:t>
            </a:r>
            <a:r>
              <a:rPr lang="ru-RU" b="1" i="1" dirty="0"/>
              <a:t>20 минут</a:t>
            </a:r>
          </a:p>
          <a:p>
            <a:r>
              <a:rPr lang="ru-RU" i="1" u="sng" dirty="0"/>
              <a:t>Время выполнения варианта: </a:t>
            </a:r>
            <a:r>
              <a:rPr lang="ru-RU" b="1" i="1" dirty="0"/>
              <a:t>80 минут (2 урока)</a:t>
            </a:r>
          </a:p>
          <a:p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10588907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1784643"/>
              </p:ext>
            </p:extLst>
          </p:nvPr>
        </p:nvGraphicFramePr>
        <p:xfrm>
          <a:off x="1010838" y="1017777"/>
          <a:ext cx="9635639" cy="60311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9902">
                  <a:extLst>
                    <a:ext uri="{9D8B030D-6E8A-4147-A177-3AD203B41FA5}">
                      <a16:colId xmlns:a16="http://schemas.microsoft.com/office/drawing/2014/main" val="2436076313"/>
                    </a:ext>
                  </a:extLst>
                </a:gridCol>
                <a:gridCol w="1889100">
                  <a:extLst>
                    <a:ext uri="{9D8B030D-6E8A-4147-A177-3AD203B41FA5}">
                      <a16:colId xmlns:a16="http://schemas.microsoft.com/office/drawing/2014/main" val="3229471653"/>
                    </a:ext>
                  </a:extLst>
                </a:gridCol>
                <a:gridCol w="1874111">
                  <a:extLst>
                    <a:ext uri="{9D8B030D-6E8A-4147-A177-3AD203B41FA5}">
                      <a16:colId xmlns:a16="http://schemas.microsoft.com/office/drawing/2014/main" val="4271328399"/>
                    </a:ext>
                  </a:extLst>
                </a:gridCol>
                <a:gridCol w="2157693">
                  <a:extLst>
                    <a:ext uri="{9D8B030D-6E8A-4147-A177-3AD203B41FA5}">
                      <a16:colId xmlns:a16="http://schemas.microsoft.com/office/drawing/2014/main" val="1723654285"/>
                    </a:ext>
                  </a:extLst>
                </a:gridCol>
                <a:gridCol w="2083714">
                  <a:extLst>
                    <a:ext uri="{9D8B030D-6E8A-4147-A177-3AD203B41FA5}">
                      <a16:colId xmlns:a16="http://schemas.microsoft.com/office/drawing/2014/main" val="897803563"/>
                    </a:ext>
                  </a:extLst>
                </a:gridCol>
                <a:gridCol w="629362">
                  <a:extLst>
                    <a:ext uri="{9D8B030D-6E8A-4147-A177-3AD203B41FA5}">
                      <a16:colId xmlns:a16="http://schemas.microsoft.com/office/drawing/2014/main" val="3338163689"/>
                    </a:ext>
                  </a:extLst>
                </a:gridCol>
                <a:gridCol w="601757">
                  <a:extLst>
                    <a:ext uri="{9D8B030D-6E8A-4147-A177-3AD203B41FA5}">
                      <a16:colId xmlns:a16="http://schemas.microsoft.com/office/drawing/2014/main" val="610849898"/>
                    </a:ext>
                  </a:extLst>
                </a:gridCol>
              </a:tblGrid>
              <a:tr h="86515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1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1: Благоустройство город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2: Будьте </a:t>
                      </a:r>
                      <a:r>
                        <a:rPr lang="ru-RU" sz="1900" u="none" strike="noStrike" dirty="0" err="1">
                          <a:effectLst/>
                        </a:rPr>
                        <a:t>здоровы_ГП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1: Мир размером с пуговиц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1: Интересное </a:t>
                      </a:r>
                      <a:r>
                        <a:rPr lang="ru-RU" sz="1900" u="none" strike="noStrike" dirty="0" err="1">
                          <a:effectLst/>
                        </a:rPr>
                        <a:t>хобби+Самокат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282" marR="9282" marT="9951" marB="0" anchor="b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9282" marR="9282" marT="9951" marB="0" anchor="b">
                    <a:solidFill>
                      <a:schemeClr val="accent4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651537"/>
                  </a:ext>
                </a:extLst>
              </a:tr>
              <a:tr h="93990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2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1: Как сберечь родной </a:t>
                      </a:r>
                      <a:r>
                        <a:rPr lang="ru-RU" sz="1900" u="none" strike="noStrike" dirty="0" err="1">
                          <a:effectLst/>
                        </a:rPr>
                        <a:t>язык_МВ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2: Вездесущий углерод/Из чего сделан снег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_4 класс: Удивительная женщина-ученый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1: </a:t>
                      </a:r>
                      <a:r>
                        <a:rPr lang="ru-RU" sz="1900" u="none" strike="noStrike" dirty="0" err="1">
                          <a:effectLst/>
                        </a:rPr>
                        <a:t>Конструктор+Колесо</a:t>
                      </a:r>
                      <a:r>
                        <a:rPr lang="ru-RU" sz="1900" u="none" strike="noStrike" dirty="0">
                          <a:effectLst/>
                        </a:rPr>
                        <a:t> обозрения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282" marR="9282" marT="9951" marB="0" anchor="b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9282" marR="9282" marT="9951" marB="0" anchor="b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5660005"/>
                  </a:ext>
                </a:extLst>
              </a:tr>
              <a:tr h="93990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3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1: Интересное </a:t>
                      </a:r>
                      <a:r>
                        <a:rPr lang="ru-RU" sz="1900" u="none" strike="noStrike" dirty="0" err="1">
                          <a:effectLst/>
                        </a:rPr>
                        <a:t>хобби+Самокат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_4 класс: </a:t>
                      </a:r>
                      <a:r>
                        <a:rPr lang="ru-RU" sz="1900" u="none" strike="noStrike" dirty="0" err="1">
                          <a:effectLst/>
                        </a:rPr>
                        <a:t>Почта+Кафе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1: Откуда берутся звуки? /Наблюдать бактерии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1: Благоустройство город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282" marR="9282" marT="9951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9282" marR="9282" marT="9951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834813"/>
                  </a:ext>
                </a:extLst>
              </a:tr>
              <a:tr h="117363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4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1: </a:t>
                      </a:r>
                      <a:r>
                        <a:rPr lang="ru-RU" sz="1900" u="none" strike="noStrike" dirty="0" err="1">
                          <a:effectLst/>
                        </a:rPr>
                        <a:t>Конструктор+Колесо</a:t>
                      </a:r>
                      <a:r>
                        <a:rPr lang="ru-RU" sz="1900" u="none" strike="noStrike" dirty="0">
                          <a:effectLst/>
                        </a:rPr>
                        <a:t> обозрения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_4 класс: Сохраним планет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2: На летний отдых + Подарочная карт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2: Первый человек в открытом космическом пространстве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282" marR="9282" marT="9951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9282" marR="9282" marT="9951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277240"/>
                  </a:ext>
                </a:extLst>
              </a:tr>
              <a:tr h="93990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5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1: Мир размером с пуговиц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2:Вод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2: Детская железная </a:t>
                      </a:r>
                      <a:r>
                        <a:rPr lang="ru-RU" sz="1900" u="none" strike="noStrike" dirty="0" err="1">
                          <a:effectLst/>
                        </a:rPr>
                        <a:t>дорога+Фотоальбом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_4 класс: Почему стекла потеют? Угадай планет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282" marR="9282" marT="9951" marB="0" anchor="b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9282" marR="9282" marT="9951" marB="0" anchor="b"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117789"/>
                  </a:ext>
                </a:extLst>
              </a:tr>
              <a:tr h="115172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6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1: Откуда берутся звуки? /Наблюдать бактерии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_4 класс: Волшебная стран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3: Услуги почты + Карта для Арины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1: Как сберечь родной </a:t>
                      </a:r>
                      <a:r>
                        <a:rPr lang="ru-RU" sz="1900" u="none" strike="noStrike" dirty="0" err="1">
                          <a:effectLst/>
                        </a:rPr>
                        <a:t>язык_МВ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282" marR="9282" marT="995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9282" marR="9282" marT="9951" marB="0" anchor="b"/>
                </a:tc>
                <a:extLst>
                  <a:ext uri="{0D108BD9-81ED-4DB2-BD59-A6C34878D82A}">
                    <a16:rowId xmlns:a16="http://schemas.microsoft.com/office/drawing/2014/main" val="875143915"/>
                  </a:ext>
                </a:extLst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225385" y="-367007"/>
            <a:ext cx="8826873" cy="138478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/>
              <a:t>Дизайн вариантов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304095" y="561096"/>
            <a:ext cx="8447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Кол-во заданий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007249" y="561096"/>
            <a:ext cx="8447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Кол-во баллов</a:t>
            </a:r>
          </a:p>
        </p:txBody>
      </p:sp>
    </p:spTree>
    <p:extLst>
      <p:ext uri="{BB962C8B-B14F-4D97-AF65-F5344CB8AC3E}">
        <p14:creationId xmlns:p14="http://schemas.microsoft.com/office/powerpoint/2010/main" val="9911655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2233129"/>
              </p:ext>
            </p:extLst>
          </p:nvPr>
        </p:nvGraphicFramePr>
        <p:xfrm>
          <a:off x="1011203" y="581799"/>
          <a:ext cx="8406973" cy="65825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1504">
                  <a:extLst>
                    <a:ext uri="{9D8B030D-6E8A-4147-A177-3AD203B41FA5}">
                      <a16:colId xmlns:a16="http://schemas.microsoft.com/office/drawing/2014/main" val="2436076313"/>
                    </a:ext>
                  </a:extLst>
                </a:gridCol>
                <a:gridCol w="2117152">
                  <a:extLst>
                    <a:ext uri="{9D8B030D-6E8A-4147-A177-3AD203B41FA5}">
                      <a16:colId xmlns:a16="http://schemas.microsoft.com/office/drawing/2014/main" val="3229471653"/>
                    </a:ext>
                  </a:extLst>
                </a:gridCol>
                <a:gridCol w="1838878">
                  <a:extLst>
                    <a:ext uri="{9D8B030D-6E8A-4147-A177-3AD203B41FA5}">
                      <a16:colId xmlns:a16="http://schemas.microsoft.com/office/drawing/2014/main" val="4271328399"/>
                    </a:ext>
                  </a:extLst>
                </a:gridCol>
                <a:gridCol w="2004970">
                  <a:extLst>
                    <a:ext uri="{9D8B030D-6E8A-4147-A177-3AD203B41FA5}">
                      <a16:colId xmlns:a16="http://schemas.microsoft.com/office/drawing/2014/main" val="1723654285"/>
                    </a:ext>
                  </a:extLst>
                </a:gridCol>
                <a:gridCol w="1874469">
                  <a:extLst>
                    <a:ext uri="{9D8B030D-6E8A-4147-A177-3AD203B41FA5}">
                      <a16:colId xmlns:a16="http://schemas.microsoft.com/office/drawing/2014/main" val="897803563"/>
                    </a:ext>
                  </a:extLst>
                </a:gridCol>
              </a:tblGrid>
              <a:tr h="88582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1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1: Благоустройство город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2: Будьте </a:t>
                      </a:r>
                      <a:r>
                        <a:rPr lang="ru-RU" sz="1900" u="none" strike="noStrike" dirty="0" err="1">
                          <a:effectLst/>
                        </a:rPr>
                        <a:t>здоровы_ГП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1: Мир размером с пуговиц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1: Интересное </a:t>
                      </a:r>
                      <a:r>
                        <a:rPr lang="ru-RU" sz="1900" u="none" strike="noStrike" dirty="0" err="1">
                          <a:effectLst/>
                        </a:rPr>
                        <a:t>хобби+Самокат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651537"/>
                  </a:ext>
                </a:extLst>
              </a:tr>
              <a:tr h="93275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2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1: Как сберечь родной </a:t>
                      </a:r>
                      <a:r>
                        <a:rPr lang="ru-RU" sz="1900" u="none" strike="noStrike" dirty="0" err="1">
                          <a:effectLst/>
                        </a:rPr>
                        <a:t>язык_МВ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2: Вездесущий углерод/Из чего сделан снег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_4 класс: Удивительная женщина-ученый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1: </a:t>
                      </a:r>
                      <a:r>
                        <a:rPr lang="ru-RU" sz="1900" u="none" strike="noStrike" dirty="0" err="1">
                          <a:effectLst/>
                        </a:rPr>
                        <a:t>Конструктор+Колесо</a:t>
                      </a:r>
                      <a:r>
                        <a:rPr lang="ru-RU" sz="1900" u="none" strike="noStrike" dirty="0">
                          <a:effectLst/>
                        </a:rPr>
                        <a:t> обозрения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5660005"/>
                  </a:ext>
                </a:extLst>
              </a:tr>
              <a:tr h="117926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3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1: Интересное </a:t>
                      </a:r>
                      <a:r>
                        <a:rPr lang="ru-RU" sz="1900" u="none" strike="noStrike" dirty="0" err="1">
                          <a:effectLst/>
                        </a:rPr>
                        <a:t>хобби+Самокат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_4 класс: </a:t>
                      </a:r>
                      <a:r>
                        <a:rPr lang="ru-RU" sz="1900" u="none" strike="noStrike" dirty="0" err="1">
                          <a:effectLst/>
                        </a:rPr>
                        <a:t>Почта+Кафе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1: Откуда берутся звуки? /Наблюдать бактерии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1: Благоустройство город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834813"/>
                  </a:ext>
                </a:extLst>
              </a:tr>
              <a:tr h="147271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4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1: </a:t>
                      </a:r>
                      <a:r>
                        <a:rPr lang="ru-RU" sz="1900" u="none" strike="noStrike" dirty="0" err="1">
                          <a:effectLst/>
                        </a:rPr>
                        <a:t>Конструктор+Колесо</a:t>
                      </a:r>
                      <a:r>
                        <a:rPr lang="ru-RU" sz="1900" u="none" strike="noStrike" dirty="0">
                          <a:effectLst/>
                        </a:rPr>
                        <a:t> обозрения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_4 класс: Сохраним планет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2: На летний отдых + Подарочная карт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2: Первый человек в открытом космическом пространстве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extLst>
                  <a:ext uri="{0D108BD9-81ED-4DB2-BD59-A6C34878D82A}">
                    <a16:rowId xmlns:a16="http://schemas.microsoft.com/office/drawing/2014/main" val="4165277240"/>
                  </a:ext>
                </a:extLst>
              </a:tr>
              <a:tr h="117926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5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1: Мир размером с пуговиц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>
                          <a:effectLst/>
                        </a:rPr>
                        <a:t>КМ2:Вода</a:t>
                      </a:r>
                      <a:endParaRPr lang="ru-RU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2: Детская железная </a:t>
                      </a:r>
                      <a:r>
                        <a:rPr lang="ru-RU" sz="1900" u="none" strike="noStrike" dirty="0" err="1">
                          <a:effectLst/>
                        </a:rPr>
                        <a:t>дорога+Фотоальбом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_4 класс: Почему стекла потеют? Угадай планет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extLst>
                  <a:ext uri="{0D108BD9-81ED-4DB2-BD59-A6C34878D82A}">
                    <a16:rowId xmlns:a16="http://schemas.microsoft.com/office/drawing/2014/main" val="2744117789"/>
                  </a:ext>
                </a:extLst>
              </a:tr>
              <a:tr h="93275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6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1: Откуда берутся звуки? /Наблюдать бактерии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_4 класс: Волшебная стран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>
                          <a:effectLst/>
                        </a:rPr>
                        <a:t>ФН3: Услуги почты + Карта для Арины</a:t>
                      </a:r>
                      <a:endParaRPr lang="ru-RU" sz="1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1: Как сберечь родной </a:t>
                      </a:r>
                      <a:r>
                        <a:rPr lang="ru-RU" sz="1900" u="none" strike="noStrike" dirty="0" err="1">
                          <a:effectLst/>
                        </a:rPr>
                        <a:t>язык_МВ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5143915"/>
                  </a:ext>
                </a:extLst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0" y="-367007"/>
            <a:ext cx="9052258" cy="10202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/>
              <a:t>Дизайн вариантов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581829" y="3969831"/>
            <a:ext cx="214086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/>
              <a:t>Повтор блоков позволяет выстроить задания всех вариантов на одной шкале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442961" y="6105941"/>
            <a:ext cx="2767095" cy="81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6459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4199420"/>
              </p:ext>
            </p:extLst>
          </p:nvPr>
        </p:nvGraphicFramePr>
        <p:xfrm>
          <a:off x="868327" y="668896"/>
          <a:ext cx="8478411" cy="64954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1576">
                  <a:extLst>
                    <a:ext uri="{9D8B030D-6E8A-4147-A177-3AD203B41FA5}">
                      <a16:colId xmlns:a16="http://schemas.microsoft.com/office/drawing/2014/main" val="2436076313"/>
                    </a:ext>
                  </a:extLst>
                </a:gridCol>
                <a:gridCol w="2218518">
                  <a:extLst>
                    <a:ext uri="{9D8B030D-6E8A-4147-A177-3AD203B41FA5}">
                      <a16:colId xmlns:a16="http://schemas.microsoft.com/office/drawing/2014/main" val="3229471653"/>
                    </a:ext>
                  </a:extLst>
                </a:gridCol>
                <a:gridCol w="1838878">
                  <a:extLst>
                    <a:ext uri="{9D8B030D-6E8A-4147-A177-3AD203B41FA5}">
                      <a16:colId xmlns:a16="http://schemas.microsoft.com/office/drawing/2014/main" val="4271328399"/>
                    </a:ext>
                  </a:extLst>
                </a:gridCol>
                <a:gridCol w="2004970">
                  <a:extLst>
                    <a:ext uri="{9D8B030D-6E8A-4147-A177-3AD203B41FA5}">
                      <a16:colId xmlns:a16="http://schemas.microsoft.com/office/drawing/2014/main" val="1723654285"/>
                    </a:ext>
                  </a:extLst>
                </a:gridCol>
                <a:gridCol w="1874469">
                  <a:extLst>
                    <a:ext uri="{9D8B030D-6E8A-4147-A177-3AD203B41FA5}">
                      <a16:colId xmlns:a16="http://schemas.microsoft.com/office/drawing/2014/main" val="897803563"/>
                    </a:ext>
                  </a:extLst>
                </a:gridCol>
              </a:tblGrid>
              <a:tr h="85597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1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1: Благоустройство город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2: Будьте </a:t>
                      </a:r>
                      <a:r>
                        <a:rPr lang="ru-RU" sz="1900" u="none" strike="noStrike" dirty="0" err="1">
                          <a:effectLst/>
                        </a:rPr>
                        <a:t>здоровы_ГП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1: Мир размером с пуговиц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1: Интересное </a:t>
                      </a:r>
                      <a:r>
                        <a:rPr lang="ru-RU" sz="1900" u="none" strike="noStrike" dirty="0" err="1">
                          <a:effectLst/>
                        </a:rPr>
                        <a:t>хобби+Самокат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651537"/>
                  </a:ext>
                </a:extLst>
              </a:tr>
              <a:tr h="92041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2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1: Как сберечь родной </a:t>
                      </a:r>
                      <a:r>
                        <a:rPr lang="ru-RU" sz="1900" u="none" strike="noStrike" dirty="0" err="1">
                          <a:effectLst/>
                        </a:rPr>
                        <a:t>язык_МВ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2: Вездесущий углерод/Из чего сделан снег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_4 класс: Удивительная женщина-ученый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1: </a:t>
                      </a:r>
                      <a:r>
                        <a:rPr lang="ru-RU" sz="1900" u="none" strike="noStrike" dirty="0" err="1">
                          <a:effectLst/>
                        </a:rPr>
                        <a:t>Конструктор+Колесо</a:t>
                      </a:r>
                      <a:r>
                        <a:rPr lang="ru-RU" sz="1900" u="none" strike="noStrike" dirty="0">
                          <a:effectLst/>
                        </a:rPr>
                        <a:t> обозрения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5660005"/>
                  </a:ext>
                </a:extLst>
              </a:tr>
              <a:tr h="11395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3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1: Интересное </a:t>
                      </a:r>
                      <a:r>
                        <a:rPr lang="ru-RU" sz="1900" u="none" strike="noStrike" dirty="0" err="1">
                          <a:effectLst/>
                        </a:rPr>
                        <a:t>хобби+Самокат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_4 класс: </a:t>
                      </a:r>
                      <a:r>
                        <a:rPr lang="ru-RU" sz="1900" u="none" strike="noStrike" dirty="0" err="1">
                          <a:effectLst/>
                        </a:rPr>
                        <a:t>Почта+Кафе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1: Откуда берутся звуки? /Наблюдать бактерии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1: Благоустройство город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834813"/>
                  </a:ext>
                </a:extLst>
              </a:tr>
              <a:tr h="14230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4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1: </a:t>
                      </a:r>
                      <a:r>
                        <a:rPr lang="ru-RU" sz="1900" u="none" strike="noStrike" dirty="0" err="1">
                          <a:effectLst/>
                        </a:rPr>
                        <a:t>Конструктор+Колесо</a:t>
                      </a:r>
                      <a:r>
                        <a:rPr lang="ru-RU" sz="1900" u="none" strike="noStrike" dirty="0">
                          <a:effectLst/>
                        </a:rPr>
                        <a:t> обозрения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_4 класс: Сохраним планет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2: На летний отдых + Подарочная карт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2: Первый человек в открытом космическом пространстве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277240"/>
                  </a:ext>
                </a:extLst>
              </a:tr>
              <a:tr h="11395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5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ЧТ1: Мир размером с пуговиц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2: Вод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МА2: Детская железная </a:t>
                      </a:r>
                      <a:r>
                        <a:rPr lang="ru-RU" sz="1900" u="none" strike="noStrike" dirty="0" err="1">
                          <a:effectLst/>
                        </a:rPr>
                        <a:t>дорога+Фотоальбом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_4 класс: Почему стекла потеют? Угадай планету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117789"/>
                  </a:ext>
                </a:extLst>
              </a:tr>
              <a:tr h="92041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700" b="1" u="none" strike="noStrike" dirty="0">
                          <a:effectLst/>
                        </a:rPr>
                        <a:t>6</a:t>
                      </a:r>
                      <a:endParaRPr lang="ru-RU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ЕС1: Откуда берутся звуки? /Наблюдать бактерии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КМ_4 класс: Волшебная страна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ФН_4 класс: : Услуги почты + Карта для Арины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900" u="none" strike="noStrike" dirty="0">
                          <a:effectLst/>
                        </a:rPr>
                        <a:t>ГК1: Как сберечь родной </a:t>
                      </a:r>
                      <a:r>
                        <a:rPr lang="ru-RU" sz="1900" u="none" strike="noStrike" dirty="0" err="1">
                          <a:effectLst/>
                        </a:rPr>
                        <a:t>язык_МВ</a:t>
                      </a:r>
                      <a:endParaRPr lang="ru-RU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1" marR="5061" marT="5426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5143915"/>
                  </a:ext>
                </a:extLst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296823" y="-367007"/>
            <a:ext cx="8755435" cy="10202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/>
              <a:t>Дизайн вариантов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581829" y="2510625"/>
            <a:ext cx="2140867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/>
              <a:t>Повтор блоков из 4 класса позволяет выстроить результаты 4 и 5 класса на единой шкале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442961" y="6105941"/>
            <a:ext cx="2767095" cy="81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506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6891" y="125811"/>
            <a:ext cx="9974267" cy="775005"/>
          </a:xfrm>
        </p:spPr>
        <p:txBody>
          <a:bodyPr>
            <a:noAutofit/>
          </a:bodyPr>
          <a:lstStyle/>
          <a:p>
            <a:r>
              <a:rPr lang="ru-RU" altLang="ru-RU" sz="268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исание основных характеристик заданий по функциональной грамотности для 5 класса: читательская грамотность</a:t>
            </a:r>
            <a:endParaRPr lang="ru-RU" sz="2680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08112573"/>
              </p:ext>
            </p:extLst>
          </p:nvPr>
        </p:nvGraphicFramePr>
        <p:xfrm>
          <a:off x="994089" y="1061914"/>
          <a:ext cx="9947069" cy="594136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236812">
                  <a:extLst>
                    <a:ext uri="{9D8B030D-6E8A-4147-A177-3AD203B41FA5}">
                      <a16:colId xmlns:a16="http://schemas.microsoft.com/office/drawing/2014/main" val="1544038568"/>
                    </a:ext>
                  </a:extLst>
                </a:gridCol>
                <a:gridCol w="1856123">
                  <a:extLst>
                    <a:ext uri="{9D8B030D-6E8A-4147-A177-3AD203B41FA5}">
                      <a16:colId xmlns:a16="http://schemas.microsoft.com/office/drawing/2014/main" val="1334699102"/>
                    </a:ext>
                  </a:extLst>
                </a:gridCol>
                <a:gridCol w="1854134">
                  <a:extLst>
                    <a:ext uri="{9D8B030D-6E8A-4147-A177-3AD203B41FA5}">
                      <a16:colId xmlns:a16="http://schemas.microsoft.com/office/drawing/2014/main" val="1035607541"/>
                    </a:ext>
                  </a:extLst>
                </a:gridCol>
              </a:tblGrid>
              <a:tr h="56083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Число заданий </a:t>
                      </a:r>
                      <a:endParaRPr lang="ru-RU" sz="1400">
                        <a:effectLst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В 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/>
                </a:tc>
                <a:extLst>
                  <a:ext uri="{0D108BD9-81ED-4DB2-BD59-A6C34878D82A}">
                    <a16:rowId xmlns:a16="http://schemas.microsoft.com/office/drawing/2014/main" val="1446088869"/>
                  </a:ext>
                </a:extLst>
              </a:tr>
              <a:tr h="280416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Содержательная область 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1104851"/>
                  </a:ext>
                </a:extLst>
              </a:tr>
              <a:tr h="43038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900" b="0" dirty="0">
                          <a:solidFill>
                            <a:schemeClr val="tx1"/>
                          </a:solidFill>
                          <a:effectLst/>
                        </a:rPr>
                        <a:t>Чтение для получения образования: </a:t>
                      </a:r>
                      <a:r>
                        <a:rPr lang="ru-RU" sz="19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ультура</a:t>
                      </a:r>
                      <a:endParaRPr lang="ru-RU" sz="15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35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3693599968"/>
                  </a:ext>
                </a:extLst>
              </a:tr>
              <a:tr h="36845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Чтение для получения образования: </a:t>
                      </a:r>
                      <a:r>
                        <a:rPr lang="ru-RU" sz="17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учные знания и открытия</a:t>
                      </a:r>
                      <a:endParaRPr lang="ru-RU" sz="13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8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65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2957598606"/>
                  </a:ext>
                </a:extLst>
              </a:tr>
              <a:tr h="280416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Компетентностная область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2221570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>
                          <a:solidFill>
                            <a:schemeClr val="tx1"/>
                          </a:solidFill>
                          <a:effectLst/>
                        </a:rPr>
                        <a:t>Находить и извлекать информацию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35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2295642444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Интегрировать и интерпретировать информацию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8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65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3680655995"/>
                  </a:ext>
                </a:extLst>
              </a:tr>
              <a:tr h="280416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Уровень сложности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390264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Низкий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5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8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115647541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Средний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2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71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4208555580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Высокий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3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1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1058952329"/>
                  </a:ext>
                </a:extLst>
              </a:tr>
              <a:tr h="280416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Формат ответа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8874214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ыбор ответа</a:t>
                      </a:r>
                      <a:endParaRPr lang="ru-RU" sz="16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  <a:endParaRPr lang="ru-RU" sz="14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%</a:t>
                      </a:r>
                      <a:endParaRPr lang="ru-RU" sz="14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2756736173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раткий ответ</a:t>
                      </a:r>
                      <a:endParaRPr lang="ru-RU" sz="16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%</a:t>
                      </a:r>
                      <a:endParaRPr lang="ru-RU" sz="14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3119950789"/>
                  </a:ext>
                </a:extLst>
              </a:tr>
              <a:tr h="3754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азвернутый ответ</a:t>
                      </a:r>
                      <a:endParaRPr lang="ru-RU" sz="16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%</a:t>
                      </a:r>
                      <a:endParaRPr lang="ru-RU" sz="14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2307426645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дание с комплексным множественным выбором</a:t>
                      </a:r>
                      <a:endParaRPr lang="ru-RU" sz="16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%</a:t>
                      </a: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3525112930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дание на выделение фрагмента текста</a:t>
                      </a:r>
                      <a:endParaRPr lang="ru-RU" sz="16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%</a:t>
                      </a: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3145822621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дание на установление соответствия </a:t>
                      </a:r>
                      <a:endParaRPr lang="ru-RU" sz="1600" b="0" i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3793" marR="637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%</a:t>
                      </a:r>
                    </a:p>
                  </a:txBody>
                  <a:tcPr marL="63793" marR="63793" marT="0" marB="0" anchor="ctr"/>
                </a:tc>
                <a:extLst>
                  <a:ext uri="{0D108BD9-81ED-4DB2-BD59-A6C34878D82A}">
                    <a16:rowId xmlns:a16="http://schemas.microsoft.com/office/drawing/2014/main" val="4120474300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Итого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28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00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793" marR="63793" marT="0" marB="0"/>
                </a:tc>
                <a:extLst>
                  <a:ext uri="{0D108BD9-81ED-4DB2-BD59-A6C34878D82A}">
                    <a16:rowId xmlns:a16="http://schemas.microsoft.com/office/drawing/2014/main" val="40071291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75967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85219" y="197068"/>
            <a:ext cx="11494618" cy="933561"/>
          </a:xfrm>
          <a:prstGeom prst="rect">
            <a:avLst/>
          </a:prstGeom>
        </p:spPr>
        <p:txBody>
          <a:bodyPr wrap="square" lIns="101572" tIns="50786" rIns="101572" bIns="50786">
            <a:spAutoFit/>
          </a:bodyPr>
          <a:lstStyle/>
          <a:p>
            <a:r>
              <a:rPr lang="ru-RU" sz="2700" cap="all" dirty="0">
                <a:solidFill>
                  <a:srgbClr val="6C276A"/>
                </a:solidFill>
              </a:rPr>
              <a:t>СЕРИЯ «ФУНКЦИОНАЛЬНАЯ ГРАМОТНОСТЬ. УЧИМСЯ ДЛЯ ЖИЗНИ» </a:t>
            </a:r>
          </a:p>
          <a:p>
            <a:r>
              <a:rPr lang="ru-RU" sz="2700" cap="all" dirty="0">
                <a:solidFill>
                  <a:srgbClr val="6C276A"/>
                </a:solidFill>
              </a:rPr>
              <a:t>проект Института стратегии развития образования РАО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423734" y="1145739"/>
            <a:ext cx="2978173" cy="410340"/>
          </a:xfrm>
          <a:prstGeom prst="rect">
            <a:avLst/>
          </a:prstGeom>
        </p:spPr>
        <p:txBody>
          <a:bodyPr wrap="square" lIns="101572" tIns="50786" rIns="101572" bIns="50786">
            <a:spAutoFit/>
          </a:bodyPr>
          <a:lstStyle/>
          <a:p>
            <a:pPr defTabSz="1015716">
              <a:defRPr/>
            </a:pPr>
            <a:endParaRPr lang="ru-RU" sz="2000" kern="0" dirty="0">
              <a:solidFill>
                <a:sysClr val="windowText" lastClr="00000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402" y="1814566"/>
            <a:ext cx="868661" cy="103700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14" y="1543101"/>
            <a:ext cx="868661" cy="103700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501" y="1694367"/>
            <a:ext cx="868660" cy="103700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8703" y="1814566"/>
            <a:ext cx="868660" cy="103700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1767" y="1608421"/>
            <a:ext cx="868661" cy="103700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627" y="1694367"/>
            <a:ext cx="868661" cy="103700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492" y="1644554"/>
            <a:ext cx="868660" cy="103700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4502" y="1694367"/>
            <a:ext cx="868660" cy="1037001"/>
          </a:xfrm>
          <a:prstGeom prst="rect">
            <a:avLst/>
          </a:prstGeom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358177" y="2984043"/>
            <a:ext cx="1480614" cy="340022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/>
              <a:t>Читательская грамотность</a:t>
            </a:r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2457583" y="2974711"/>
            <a:ext cx="1707177" cy="340022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/>
              <a:t>Математическая грамотность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4444076" y="2974710"/>
            <a:ext cx="1413802" cy="340022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/>
              <a:t>Естественнонаучная грамотность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6001823" y="2975922"/>
            <a:ext cx="1441555" cy="340022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/>
              <a:t>Финансовая грамотность</a:t>
            </a:r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7382613" y="2917770"/>
            <a:ext cx="1458688" cy="411622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/>
              <a:t>Глобальные компетенции</a:t>
            </a:r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8755436" y="2937170"/>
            <a:ext cx="1385860" cy="340022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/>
              <a:t>Креативное мышление</a:t>
            </a:r>
          </a:p>
        </p:txBody>
      </p:sp>
      <p:sp>
        <p:nvSpPr>
          <p:cNvPr id="22" name="Нижний колонтитул 1"/>
          <p:cNvSpPr txBox="1">
            <a:spLocks/>
          </p:cNvSpPr>
          <p:nvPr/>
        </p:nvSpPr>
        <p:spPr>
          <a:xfrm>
            <a:off x="5659226" y="6448928"/>
            <a:ext cx="3306275" cy="668843"/>
          </a:xfrm>
          <a:prstGeom prst="rect">
            <a:avLst/>
          </a:prstGeom>
        </p:spPr>
        <p:txBody>
          <a:bodyPr lIns="101572" tIns="50786" rIns="101572" bIns="50786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© АО «Издательство «Просвещение», 2020</a:t>
            </a:r>
          </a:p>
        </p:txBody>
      </p:sp>
      <p:sp>
        <p:nvSpPr>
          <p:cNvPr id="23" name="Rectangle 1"/>
          <p:cNvSpPr>
            <a:spLocks noChangeArrowheads="1"/>
          </p:cNvSpPr>
          <p:nvPr/>
        </p:nvSpPr>
        <p:spPr bwMode="auto">
          <a:xfrm>
            <a:off x="225448" y="3624515"/>
            <a:ext cx="11144265" cy="2972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5702" tIns="42850" rIns="85702" bIns="42850" numCol="1" anchor="ctr" anchorCtr="0" compatLnSpc="1">
            <a:prstTxWarp prst="textNoShape">
              <a:avLst/>
            </a:prstTxWarp>
            <a:spAutoFit/>
          </a:bodyPr>
          <a:lstStyle/>
          <a:p>
            <a:pPr marL="267832" indent="-267832" defTabSz="857061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altLang="ru-RU" sz="2200" b="1" dirty="0">
                <a:solidFill>
                  <a:srgbClr val="294790"/>
                </a:solidFill>
              </a:rPr>
              <a:t>направлено на формирование умения применять в жизни знания, полученные в школе</a:t>
            </a:r>
          </a:p>
          <a:p>
            <a:pPr marL="267832" indent="-267832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sz="2200" b="1" dirty="0">
                <a:solidFill>
                  <a:srgbClr val="294790"/>
                </a:solidFill>
              </a:rPr>
              <a:t>предлагает обучающие и тренировочные задания, основанные на реальных жизненных ситуациях</a:t>
            </a:r>
          </a:p>
          <a:p>
            <a:pPr marL="267832" indent="-267832" defTabSz="857061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altLang="ru-RU" sz="2200" b="1" dirty="0">
                <a:solidFill>
                  <a:srgbClr val="294790"/>
                </a:solidFill>
              </a:rPr>
              <a:t>рассчитано на обучающихся 10—15 лет </a:t>
            </a:r>
          </a:p>
          <a:p>
            <a:pPr marL="267832" indent="-267832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sz="2200" b="1" dirty="0">
                <a:solidFill>
                  <a:srgbClr val="294790"/>
                </a:solidFill>
              </a:rPr>
              <a:t>содержит развернутые описания особенностей оценки заданий и рекомендации по их использованию </a:t>
            </a:r>
          </a:p>
          <a:p>
            <a:pPr marL="267832" indent="-267832" defTabSz="857061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altLang="ru-RU" sz="2200" b="1" dirty="0">
                <a:solidFill>
                  <a:srgbClr val="294790"/>
                </a:solidFill>
              </a:rPr>
              <a:t>содержит комплекс задач для самостоятельного или коллективного выполнения</a:t>
            </a:r>
          </a:p>
          <a:p>
            <a:pPr marL="267832" indent="-267832" defTabSz="857061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altLang="ru-RU" sz="2200" b="1" dirty="0">
                <a:solidFill>
                  <a:srgbClr val="294790"/>
                </a:solidFill>
              </a:rPr>
              <a:t>приводятся комментарии, предполагаемые ответы и критерии оценивания </a:t>
            </a:r>
          </a:p>
        </p:txBody>
      </p:sp>
    </p:spTree>
    <p:extLst>
      <p:ext uri="{BB962C8B-B14F-4D97-AF65-F5344CB8AC3E}">
        <p14:creationId xmlns:p14="http://schemas.microsoft.com/office/powerpoint/2010/main" val="306333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>
                <a:latin typeface="+mn-lt"/>
              </a:rPr>
              <a:t>Электронный банк заданий для оценки функциональной грамотности</a:t>
            </a:r>
          </a:p>
        </p:txBody>
      </p:sp>
      <p:pic>
        <p:nvPicPr>
          <p:cNvPr id="4" name="Содержимое 3"/>
          <p:cNvPicPr>
            <a:picLocks noGrp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1939897" y="1296178"/>
            <a:ext cx="7929618" cy="5572164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родолжение проекта по формированию и оценке функциональной грамотности в 5 классе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94044" y="1510493"/>
            <a:ext cx="10692765" cy="4889366"/>
          </a:xfrm>
        </p:spPr>
        <p:txBody>
          <a:bodyPr>
            <a:normAutofit fontScale="92500" lnSpcReduction="10000"/>
          </a:bodyPr>
          <a:lstStyle/>
          <a:p>
            <a:r>
              <a:rPr lang="ru-RU" dirty="0"/>
              <a:t>Основная цель – оценить готовность школы к формированию функциональной грамотности в основной школе (с учетом вклада начальной школы)</a:t>
            </a:r>
          </a:p>
          <a:p>
            <a:r>
              <a:rPr lang="ru-RU" dirty="0"/>
              <a:t>Проведение тестирования учащихся и анкетирование учителей</a:t>
            </a:r>
          </a:p>
          <a:p>
            <a:r>
              <a:rPr lang="ru-RU" dirty="0"/>
              <a:t>Особенности диагностической работы: </a:t>
            </a:r>
          </a:p>
          <a:p>
            <a:pPr lvl="1"/>
            <a:r>
              <a:rPr lang="ru-RU" dirty="0"/>
              <a:t>включение всех шести направлений   функциональной грамотности;</a:t>
            </a:r>
          </a:p>
          <a:p>
            <a:pPr lvl="1"/>
            <a:r>
              <a:rPr lang="ru-RU" dirty="0"/>
              <a:t>выделение приоритетных компетенций: работа с информацией и решение проблем</a:t>
            </a:r>
          </a:p>
          <a:p>
            <a:pPr lvl="1"/>
            <a:endParaRPr lang="ru-RU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диагностической работы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94044" y="1153302"/>
            <a:ext cx="10692765" cy="5786477"/>
          </a:xfrm>
        </p:spPr>
        <p:txBody>
          <a:bodyPr>
            <a:normAutofit fontScale="62500" lnSpcReduction="20000"/>
          </a:bodyPr>
          <a:lstStyle/>
          <a:p>
            <a:pPr lvl="0"/>
            <a:r>
              <a:rPr lang="ru-RU" b="1" dirty="0"/>
              <a:t>Цель</a:t>
            </a:r>
            <a:r>
              <a:rPr lang="ru-RU" dirty="0"/>
              <a:t>: оценить уровень </a:t>
            </a:r>
            <a:r>
              <a:rPr lang="ru-RU" dirty="0" err="1"/>
              <a:t>сформированности</a:t>
            </a:r>
            <a:r>
              <a:rPr lang="ru-RU" dirty="0"/>
              <a:t> читательской, математической, естественнонаучной, финансовой грамотности, а так же таких направлений как «глобальные компетенции» и «креативное мышление» как составляющих функциональной грамотности обучающихся 5х классов с учетом результатов 4 класса.</a:t>
            </a:r>
          </a:p>
          <a:p>
            <a:r>
              <a:rPr lang="ru-RU" b="1" dirty="0"/>
              <a:t>Состав варианта: </a:t>
            </a:r>
            <a:r>
              <a:rPr lang="ru-RU" dirty="0"/>
              <a:t>Вариант сформирован по четырем из  шести направлений функциональной грамотности: читательской (ЧГ),  математической (МГ) и естественнонаучной (ЕНГ), финансовой(ФН), глобальным компетенциям (ГК), креативному мышлению (КМ).</a:t>
            </a:r>
          </a:p>
          <a:p>
            <a:pPr marL="360363" lvl="1" indent="-360363">
              <a:buFont typeface="Arial" pitchFamily="34" charset="0"/>
              <a:buChar char="•"/>
            </a:pPr>
            <a:r>
              <a:rPr lang="ru-RU" sz="3800" b="1" dirty="0"/>
              <a:t>Выделение приоритетных компетенций</a:t>
            </a:r>
            <a:r>
              <a:rPr lang="ru-RU" sz="3800" dirty="0"/>
              <a:t>: работа с информацией и решение проблем</a:t>
            </a:r>
          </a:p>
          <a:p>
            <a:pPr lvl="0"/>
            <a:r>
              <a:rPr lang="ru-RU" b="1" dirty="0"/>
              <a:t>Типы заданий</a:t>
            </a:r>
            <a:r>
              <a:rPr lang="ru-RU" dirty="0"/>
              <a:t>: с выбором одного или нескольких верных ответов; с множественным комплексным выбором; с кратким ответом (в виде букв, слов, цифр); с развернутым ответом; с выбором ответа и пояснением к нему  </a:t>
            </a:r>
          </a:p>
          <a:p>
            <a:r>
              <a:rPr lang="ru-RU" b="1" dirty="0"/>
              <a:t>Система оценивания</a:t>
            </a:r>
            <a:r>
              <a:rPr lang="ru-RU" dirty="0"/>
              <a:t>:  за выполнение заданий – 0, 1 или 2 балла, за работу в целом – суммарный балл и уровень </a:t>
            </a:r>
            <a:r>
              <a:rPr lang="ru-RU" dirty="0" err="1"/>
              <a:t>сформированности</a:t>
            </a:r>
            <a:r>
              <a:rPr lang="ru-RU" dirty="0"/>
              <a:t> функциональной грамотности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1880850" cy="964318"/>
          </a:xfrm>
          <a:prstGeom prst="rect">
            <a:avLst/>
          </a:prstGeom>
        </p:spPr>
        <p:txBody>
          <a:bodyPr wrap="square" lIns="101552" tIns="50776" rIns="101552" bIns="50776">
            <a:spAutoFit/>
          </a:bodyPr>
          <a:lstStyle/>
          <a:p>
            <a:pPr algn="ctr"/>
            <a:r>
              <a:rPr lang="ru-RU" sz="2800" b="1" dirty="0">
                <a:latin typeface="Georgia" pitchFamily="18" charset="0"/>
              </a:rPr>
              <a:t>Структура измерительных материалов в исследовании </a:t>
            </a:r>
            <a:r>
              <a:rPr lang="en-US" sz="2800" b="1" dirty="0">
                <a:latin typeface="Georgia" pitchFamily="18" charset="0"/>
              </a:rPr>
              <a:t> PISA</a:t>
            </a:r>
            <a:r>
              <a:rPr lang="ru-RU" sz="2800" b="1" dirty="0">
                <a:latin typeface="Georgia" pitchFamily="18" charset="0"/>
              </a:rPr>
              <a:t> и в региональном мониторинге</a:t>
            </a:r>
            <a:endParaRPr lang="en-US" sz="2800" b="1" dirty="0">
              <a:latin typeface="Georgia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970214" y="2505080"/>
            <a:ext cx="5940425" cy="410320"/>
          </a:xfrm>
          <a:prstGeom prst="rect">
            <a:avLst/>
          </a:prstGeom>
        </p:spPr>
        <p:txBody>
          <a:bodyPr lIns="101552" tIns="50776" rIns="101552" bIns="50776">
            <a:spAutoFit/>
          </a:bodyPr>
          <a:lstStyle/>
          <a:p>
            <a:pPr defTabSz="1015513">
              <a:defRPr/>
            </a:pPr>
            <a:endParaRPr lang="ru-RU" sz="2000" kern="0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4166046852"/>
              </p:ext>
            </p:extLst>
          </p:nvPr>
        </p:nvGraphicFramePr>
        <p:xfrm>
          <a:off x="368385" y="1694080"/>
          <a:ext cx="8608924" cy="4596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8529857" y="1823315"/>
            <a:ext cx="2496606" cy="473063"/>
            <a:chOff x="1466849" y="2613603"/>
            <a:chExt cx="1296989" cy="1320222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7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8" name="Freeform 20"/>
            <p:cNvSpPr>
              <a:spLocks/>
            </p:cNvSpPr>
            <p:nvPr/>
          </p:nvSpPr>
          <p:spPr bwMode="auto">
            <a:xfrm>
              <a:off x="1466849" y="2613603"/>
              <a:ext cx="1296988" cy="1293814"/>
            </a:xfrm>
            <a:prstGeom prst="round2DiagRect">
              <a:avLst/>
            </a:prstGeom>
            <a:solidFill>
              <a:srgbClr val="CCE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МГ: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Разделы математики</a:t>
              </a:r>
            </a:p>
          </p:txBody>
        </p:sp>
      </p:grpSp>
      <p:grpSp>
        <p:nvGrpSpPr>
          <p:cNvPr id="6" name="Group 12"/>
          <p:cNvGrpSpPr>
            <a:grpSpLocks/>
          </p:cNvGrpSpPr>
          <p:nvPr/>
        </p:nvGrpSpPr>
        <p:grpSpPr bwMode="auto">
          <a:xfrm>
            <a:off x="8087395" y="958023"/>
            <a:ext cx="1940035" cy="713908"/>
            <a:chOff x="1264485" y="1191598"/>
            <a:chExt cx="1531503" cy="2078130"/>
          </a:xfrm>
          <a:solidFill>
            <a:srgbClr val="FFC000"/>
          </a:solidFill>
        </p:grpSpPr>
        <p:sp>
          <p:nvSpPr>
            <p:cNvPr id="10" name="Rectangle 12"/>
            <p:cNvSpPr>
              <a:spLocks noChangeArrowheads="1"/>
            </p:cNvSpPr>
            <p:nvPr/>
          </p:nvSpPr>
          <p:spPr bwMode="auto">
            <a:xfrm>
              <a:off x="1264485" y="1191598"/>
              <a:ext cx="1531503" cy="2078130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11" name="Freeform 20"/>
            <p:cNvSpPr>
              <a:spLocks/>
            </p:cNvSpPr>
            <p:nvPr/>
          </p:nvSpPr>
          <p:spPr bwMode="auto">
            <a:xfrm>
              <a:off x="1381742" y="1426005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ЧГ: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Типы и форматы текста</a:t>
              </a:r>
            </a:p>
          </p:txBody>
        </p:sp>
      </p:grpSp>
      <p:grpSp>
        <p:nvGrpSpPr>
          <p:cNvPr id="9" name="Group 12"/>
          <p:cNvGrpSpPr>
            <a:grpSpLocks/>
          </p:cNvGrpSpPr>
          <p:nvPr/>
        </p:nvGrpSpPr>
        <p:grpSpPr bwMode="auto">
          <a:xfrm>
            <a:off x="7953885" y="2648523"/>
            <a:ext cx="2496603" cy="654691"/>
            <a:chOff x="1466850" y="2637632"/>
            <a:chExt cx="1296988" cy="1296193"/>
          </a:xfrm>
          <a:solidFill>
            <a:srgbClr val="A7FFC4"/>
          </a:solidFill>
        </p:grpSpPr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14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solidFill>
              <a:srgbClr val="66F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ЕНГ: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 Естественнонаучные предметы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Методология</a:t>
              </a:r>
            </a:p>
          </p:txBody>
        </p:sp>
      </p:grpSp>
      <p:grpSp>
        <p:nvGrpSpPr>
          <p:cNvPr id="12" name="Group 12"/>
          <p:cNvGrpSpPr>
            <a:grpSpLocks/>
          </p:cNvGrpSpPr>
          <p:nvPr/>
        </p:nvGrpSpPr>
        <p:grpSpPr bwMode="auto">
          <a:xfrm>
            <a:off x="8807523" y="3543049"/>
            <a:ext cx="2039624" cy="569503"/>
            <a:chOff x="1466850" y="2637632"/>
            <a:chExt cx="1296988" cy="1296193"/>
          </a:xfrm>
          <a:solidFill>
            <a:srgbClr val="FFC000"/>
          </a:solidFill>
        </p:grpSpPr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ЧГ: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Ситуации функционирования текста</a:t>
              </a:r>
            </a:p>
          </p:txBody>
        </p:sp>
      </p:grpSp>
      <p:grpSp>
        <p:nvGrpSpPr>
          <p:cNvPr id="15" name="Group 12"/>
          <p:cNvGrpSpPr>
            <a:grpSpLocks/>
          </p:cNvGrpSpPr>
          <p:nvPr/>
        </p:nvGrpSpPr>
        <p:grpSpPr bwMode="auto">
          <a:xfrm>
            <a:off x="8132036" y="4287229"/>
            <a:ext cx="2965008" cy="577569"/>
            <a:chOff x="1466850" y="2637632"/>
            <a:chExt cx="1296988" cy="1296193"/>
          </a:xfrm>
          <a:solidFill>
            <a:srgbClr val="CCECFF"/>
          </a:solidFill>
        </p:grpSpPr>
        <p:sp>
          <p:nvSpPr>
            <p:cNvPr id="19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МГ: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Мир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индивидуума, социума,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образования и науки</a:t>
              </a:r>
            </a:p>
          </p:txBody>
        </p:sp>
      </p:grpSp>
      <p:grpSp>
        <p:nvGrpSpPr>
          <p:cNvPr id="18" name="Group 12"/>
          <p:cNvGrpSpPr>
            <a:grpSpLocks/>
          </p:cNvGrpSpPr>
          <p:nvPr/>
        </p:nvGrpSpPr>
        <p:grpSpPr bwMode="auto">
          <a:xfrm>
            <a:off x="7636681" y="5123075"/>
            <a:ext cx="2932328" cy="755212"/>
            <a:chOff x="1466850" y="2637632"/>
            <a:chExt cx="1296988" cy="1296193"/>
          </a:xfrm>
          <a:solidFill>
            <a:srgbClr val="66FF33"/>
          </a:solidFill>
        </p:grpSpPr>
        <p:sp>
          <p:nvSpPr>
            <p:cNvPr id="22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ЕНГ: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Здоровье, ресурсы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окружающая среда,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связь науки и технологии</a:t>
              </a:r>
            </a:p>
          </p:txBody>
        </p:sp>
      </p:grpSp>
      <p:sp>
        <p:nvSpPr>
          <p:cNvPr id="24" name="Freeform 20"/>
          <p:cNvSpPr>
            <a:spLocks/>
          </p:cNvSpPr>
          <p:nvPr/>
        </p:nvSpPr>
        <p:spPr bwMode="auto">
          <a:xfrm>
            <a:off x="675114" y="1185276"/>
            <a:ext cx="2957484" cy="1144268"/>
          </a:xfrm>
          <a:prstGeom prst="round2DiagRect">
            <a:avLst/>
          </a:prstGeom>
          <a:solidFill>
            <a:srgbClr val="FFC000"/>
          </a:solidFill>
          <a:ln>
            <a:noFill/>
          </a:ln>
        </p:spPr>
        <p:txBody>
          <a:bodyPr lIns="101552" tIns="50776" rIns="101552" bIns="50776" anchor="ctr" anchorCtr="0"/>
          <a:lstStyle/>
          <a:p>
            <a:pPr algn="ct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ЧГ: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Работать с информацией:</a:t>
            </a:r>
          </a:p>
          <a:p>
            <a:pPr marL="150740" indent="47602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находить и извлекать</a:t>
            </a:r>
          </a:p>
          <a:p>
            <a:pPr marL="150740" indent="47602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осмысливать и оценивать</a:t>
            </a:r>
          </a:p>
          <a:p>
            <a:pPr marL="150740" indent="47602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</a:t>
            </a:r>
          </a:p>
        </p:txBody>
      </p:sp>
      <p:sp>
        <p:nvSpPr>
          <p:cNvPr id="25" name="Freeform 20"/>
          <p:cNvSpPr>
            <a:spLocks/>
          </p:cNvSpPr>
          <p:nvPr/>
        </p:nvSpPr>
        <p:spPr bwMode="auto">
          <a:xfrm>
            <a:off x="419497" y="2685505"/>
            <a:ext cx="2973827" cy="1248084"/>
          </a:xfrm>
          <a:prstGeom prst="round2Diag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lIns="101552" tIns="50776" rIns="101552" bIns="50776" anchor="ctr" anchorCtr="0"/>
          <a:lstStyle/>
          <a:p>
            <a:pPr algn="ct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МГ: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Формулировать, применять интерпретировать и оценивать результаты с позиций математики и реальной проблемы</a:t>
            </a:r>
          </a:p>
        </p:txBody>
      </p:sp>
      <p:sp>
        <p:nvSpPr>
          <p:cNvPr id="26" name="Freeform 20"/>
          <p:cNvSpPr>
            <a:spLocks/>
          </p:cNvSpPr>
          <p:nvPr/>
        </p:nvSpPr>
        <p:spPr bwMode="auto">
          <a:xfrm>
            <a:off x="346720" y="5203486"/>
            <a:ext cx="3060971" cy="1244562"/>
          </a:xfrm>
          <a:prstGeom prst="round2DiagRect">
            <a:avLst/>
          </a:prstGeom>
          <a:solidFill>
            <a:srgbClr val="66FF33"/>
          </a:solidFill>
          <a:ln>
            <a:noFill/>
          </a:ln>
        </p:spPr>
        <p:txBody>
          <a:bodyPr lIns="101552" tIns="50776" rIns="101552" bIns="50776" anchor="ctr" anchorCtr="0"/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ЕНГ:</a:t>
            </a:r>
          </a:p>
          <a:p>
            <a:pPr marL="150740" indent="-150740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давать научные объяснения,</a:t>
            </a:r>
          </a:p>
          <a:p>
            <a:pPr marL="150740" indent="-150740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рименять е/н методы исследования, </a:t>
            </a:r>
          </a:p>
          <a:p>
            <a:pPr marL="150740" indent="-150740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 данные,  делать выводы</a:t>
            </a:r>
          </a:p>
        </p:txBody>
      </p:sp>
      <p:cxnSp>
        <p:nvCxnSpPr>
          <p:cNvPr id="27" name="Прямая со стрелкой 26"/>
          <p:cNvCxnSpPr/>
          <p:nvPr/>
        </p:nvCxnSpPr>
        <p:spPr>
          <a:xfrm flipV="1">
            <a:off x="6522576" y="1414501"/>
            <a:ext cx="1646360" cy="1071722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V="1">
            <a:off x="6522579" y="2175033"/>
            <a:ext cx="2053598" cy="288581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endCxn id="14" idx="2"/>
          </p:cNvCxnSpPr>
          <p:nvPr/>
        </p:nvCxnSpPr>
        <p:spPr>
          <a:xfrm>
            <a:off x="6549651" y="2463614"/>
            <a:ext cx="1404232" cy="511652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endCxn id="16" idx="2"/>
          </p:cNvCxnSpPr>
          <p:nvPr/>
        </p:nvCxnSpPr>
        <p:spPr>
          <a:xfrm flipV="1">
            <a:off x="7237960" y="3828149"/>
            <a:ext cx="1569563" cy="53449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7228619" y="4370078"/>
            <a:ext cx="1266516" cy="315625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7228619" y="4381127"/>
            <a:ext cx="725264" cy="92069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V="1">
            <a:off x="3037754" y="1966262"/>
            <a:ext cx="250324" cy="2056537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 flipV="1">
            <a:off x="2522950" y="3602094"/>
            <a:ext cx="556348" cy="50744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H="1">
            <a:off x="675114" y="4046658"/>
            <a:ext cx="2404185" cy="115682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864390" y="3840748"/>
            <a:ext cx="1911740" cy="625764"/>
          </a:xfrm>
          <a:prstGeom prst="rect">
            <a:avLst/>
          </a:prstGeom>
          <a:noFill/>
        </p:spPr>
        <p:txBody>
          <a:bodyPr wrap="square" lIns="101552" tIns="50776" rIns="101552" bIns="50776" rtlCol="0">
            <a:spAutoFit/>
          </a:bodyPr>
          <a:lstStyle/>
          <a:p>
            <a:pPr algn="ctr"/>
            <a:r>
              <a:rPr lang="ru-RU" sz="1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ОК ЗАДАНИЙ</a:t>
            </a:r>
          </a:p>
        </p:txBody>
      </p:sp>
      <p:cxnSp>
        <p:nvCxnSpPr>
          <p:cNvPr id="42" name="Прямая со стрелкой 41"/>
          <p:cNvCxnSpPr/>
          <p:nvPr/>
        </p:nvCxnSpPr>
        <p:spPr>
          <a:xfrm flipV="1">
            <a:off x="6511929" y="1439054"/>
            <a:ext cx="1646360" cy="1071722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H="1">
            <a:off x="654014" y="4082260"/>
            <a:ext cx="2404185" cy="115682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025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Характеристики заданий и система оценивания</a:t>
            </a:r>
          </a:p>
        </p:txBody>
      </p:sp>
      <p:pic>
        <p:nvPicPr>
          <p:cNvPr id="1085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1137" y="1296178"/>
            <a:ext cx="10787137" cy="5572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1"/>
            <a:ext cx="10692765" cy="724673"/>
          </a:xfrm>
        </p:spPr>
        <p:txBody>
          <a:bodyPr/>
          <a:lstStyle/>
          <a:p>
            <a:r>
              <a:rPr lang="ru-RU" dirty="0"/>
              <a:t>Характеристика заданий: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6366323"/>
              </p:ext>
            </p:extLst>
          </p:nvPr>
        </p:nvGraphicFramePr>
        <p:xfrm>
          <a:off x="593725" y="1296178"/>
          <a:ext cx="10693400" cy="55721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-1" y="438923"/>
            <a:ext cx="11226837" cy="857256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i="1" dirty="0" err="1"/>
              <a:t>компетентностная</a:t>
            </a:r>
            <a:r>
              <a:rPr lang="ru-RU" sz="3600" i="1" dirty="0"/>
              <a:t> область оценки</a:t>
            </a:r>
          </a:p>
        </p:txBody>
      </p:sp>
    </p:spTree>
    <p:extLst>
      <p:ext uri="{BB962C8B-B14F-4D97-AF65-F5344CB8AC3E}">
        <p14:creationId xmlns:p14="http://schemas.microsoft.com/office/powerpoint/2010/main" val="31462347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009268"/>
          </a:xfrm>
        </p:spPr>
        <p:txBody>
          <a:bodyPr>
            <a:normAutofit fontScale="90000"/>
          </a:bodyPr>
          <a:lstStyle/>
          <a:p>
            <a:r>
              <a:rPr lang="ru-RU" dirty="0"/>
              <a:t>Характеристика заданий: </a:t>
            </a:r>
            <a:r>
              <a:rPr lang="ru-RU" i="1" dirty="0"/>
              <a:t>контекст</a:t>
            </a:r>
            <a:br>
              <a:rPr lang="ru-RU" i="1" dirty="0"/>
            </a:b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64931199"/>
              </p:ext>
            </p:extLst>
          </p:nvPr>
        </p:nvGraphicFramePr>
        <p:xfrm>
          <a:off x="593725" y="1153302"/>
          <a:ext cx="10693400" cy="52459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511137" y="938988"/>
            <a:ext cx="9065839" cy="775005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600" i="1" dirty="0"/>
          </a:p>
        </p:txBody>
      </p:sp>
    </p:spTree>
    <p:extLst>
      <p:ext uri="{BB962C8B-B14F-4D97-AF65-F5344CB8AC3E}">
        <p14:creationId xmlns:p14="http://schemas.microsoft.com/office/powerpoint/2010/main" val="38574917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223582"/>
          </a:xfrm>
        </p:spPr>
        <p:txBody>
          <a:bodyPr>
            <a:normAutofit fontScale="90000"/>
          </a:bodyPr>
          <a:lstStyle/>
          <a:p>
            <a:r>
              <a:rPr lang="ru-RU" dirty="0"/>
              <a:t>Характеристика заданий: </a:t>
            </a:r>
            <a:r>
              <a:rPr lang="ru-RU" i="1" dirty="0"/>
              <a:t>формат ответа</a:t>
            </a:r>
            <a:br>
              <a:rPr lang="ru-RU" i="1" dirty="0"/>
            </a:br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-2628527" y="896688"/>
            <a:ext cx="10692765" cy="775005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600" i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4044" y="1367616"/>
            <a:ext cx="10692765" cy="5572163"/>
          </a:xfrm>
        </p:spPr>
        <p:txBody>
          <a:bodyPr>
            <a:normAutofit fontScale="70000" lnSpcReduction="20000"/>
          </a:bodyPr>
          <a:lstStyle/>
          <a:p>
            <a:pPr lvl="0">
              <a:lnSpc>
                <a:spcPct val="110000"/>
              </a:lnSpc>
            </a:pPr>
            <a:r>
              <a:rPr lang="ru-RU" dirty="0"/>
              <a:t>Задание с выбором одного верного ответа</a:t>
            </a:r>
          </a:p>
          <a:p>
            <a:pPr lvl="0">
              <a:lnSpc>
                <a:spcPct val="110000"/>
              </a:lnSpc>
            </a:pPr>
            <a:r>
              <a:rPr lang="ru-RU" dirty="0"/>
              <a:t>Задание с выбором нескольких верных ответов</a:t>
            </a:r>
          </a:p>
          <a:p>
            <a:pPr lvl="0">
              <a:lnSpc>
                <a:spcPct val="110000"/>
              </a:lnSpc>
            </a:pPr>
            <a:r>
              <a:rPr lang="ru-RU" dirty="0"/>
              <a:t>Задание с кратким ответом</a:t>
            </a:r>
          </a:p>
          <a:p>
            <a:pPr lvl="0">
              <a:lnSpc>
                <a:spcPct val="110000"/>
              </a:lnSpc>
            </a:pPr>
            <a:r>
              <a:rPr lang="ru-RU" dirty="0"/>
              <a:t>Задание с несколькими краткими ответами (отдельные поля для ответов)</a:t>
            </a:r>
          </a:p>
          <a:p>
            <a:pPr>
              <a:lnSpc>
                <a:spcPct val="110000"/>
              </a:lnSpc>
            </a:pPr>
            <a:r>
              <a:rPr lang="ru-RU" dirty="0"/>
              <a:t>Задание с кратким ответом и пояснением к нему</a:t>
            </a:r>
          </a:p>
          <a:p>
            <a:pPr lvl="0">
              <a:lnSpc>
                <a:spcPct val="110000"/>
              </a:lnSpc>
            </a:pPr>
            <a:r>
              <a:rPr lang="ru-RU" dirty="0"/>
              <a:t>Задание с развернутым ответом (в виде текста, рисунка или и рисунка, и текста)</a:t>
            </a:r>
          </a:p>
          <a:p>
            <a:pPr lvl="0">
              <a:lnSpc>
                <a:spcPct val="110000"/>
              </a:lnSpc>
            </a:pPr>
            <a:r>
              <a:rPr lang="ru-RU" dirty="0"/>
              <a:t>Задание на установление соответствия (две группы объектов)</a:t>
            </a:r>
          </a:p>
          <a:p>
            <a:pPr lvl="0">
              <a:lnSpc>
                <a:spcPct val="110000"/>
              </a:lnSpc>
            </a:pPr>
            <a:r>
              <a:rPr lang="ru-RU" dirty="0"/>
              <a:t>Задание на установление соответствия (несколько групп объектов)</a:t>
            </a:r>
          </a:p>
          <a:p>
            <a:pPr lvl="0">
              <a:lnSpc>
                <a:spcPct val="110000"/>
              </a:lnSpc>
            </a:pPr>
            <a:r>
              <a:rPr lang="ru-RU" dirty="0"/>
              <a:t>Задание на установление последовательности</a:t>
            </a:r>
          </a:p>
          <a:p>
            <a:pPr lvl="0">
              <a:lnSpc>
                <a:spcPct val="110000"/>
              </a:lnSpc>
            </a:pPr>
            <a:r>
              <a:rPr lang="ru-RU" dirty="0"/>
              <a:t>Задание на выделение фрагмента текста</a:t>
            </a:r>
          </a:p>
          <a:p>
            <a:pPr lvl="0">
              <a:lnSpc>
                <a:spcPct val="110000"/>
              </a:lnSpc>
            </a:pPr>
            <a:r>
              <a:rPr lang="ru-RU" dirty="0"/>
              <a:t>Задание с комплексным множественным выбором</a:t>
            </a:r>
          </a:p>
          <a:p>
            <a:pPr lvl="0">
              <a:lnSpc>
                <a:spcPct val="110000"/>
              </a:lnSpc>
            </a:pPr>
            <a:r>
              <a:rPr lang="ru-RU" dirty="0"/>
              <a:t>Комплексное задание с выбором ответа и объяснением</a:t>
            </a:r>
          </a:p>
          <a:p>
            <a:pPr lvl="0">
              <a:lnSpc>
                <a:spcPct val="110000"/>
              </a:lnSpc>
            </a:pPr>
            <a:endParaRPr lang="ru-RU" dirty="0"/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21454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437896"/>
          </a:xfrm>
        </p:spPr>
        <p:txBody>
          <a:bodyPr>
            <a:normAutofit/>
          </a:bodyPr>
          <a:lstStyle/>
          <a:p>
            <a:r>
              <a:rPr lang="ru-RU" dirty="0"/>
              <a:t>Характеристика заданий: </a:t>
            </a:r>
            <a:r>
              <a:rPr lang="ru-RU" i="1" dirty="0"/>
              <a:t>уровень сложности</a:t>
            </a:r>
            <a:br>
              <a:rPr lang="ru-RU" i="1" dirty="0"/>
            </a:br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-2628527" y="896688"/>
            <a:ext cx="10692765" cy="775005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600" i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99865" y="1926010"/>
            <a:ext cx="9439275" cy="287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774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950</TotalTime>
  <Words>1766</Words>
  <Application>Microsoft Office PowerPoint</Application>
  <PresentationFormat>Произвольный</PresentationFormat>
  <Paragraphs>349</Paragraphs>
  <Slides>17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3" baseType="lpstr">
      <vt:lpstr>Arial</vt:lpstr>
      <vt:lpstr>Calibri</vt:lpstr>
      <vt:lpstr>Georgia</vt:lpstr>
      <vt:lpstr>Times New Roman</vt:lpstr>
      <vt:lpstr>Тема Office</vt:lpstr>
      <vt:lpstr>think-cell Slide</vt:lpstr>
      <vt:lpstr>Презентация PowerPoint</vt:lpstr>
      <vt:lpstr>Продолжение проекта по формированию и оценке функциональной грамотности в 5 классе</vt:lpstr>
      <vt:lpstr>Особенности диагностической работы</vt:lpstr>
      <vt:lpstr>Презентация PowerPoint</vt:lpstr>
      <vt:lpstr>Характеристики заданий и система оценивания</vt:lpstr>
      <vt:lpstr>Характеристика заданий:</vt:lpstr>
      <vt:lpstr>Характеристика заданий: контекст </vt:lpstr>
      <vt:lpstr>Характеристика заданий: формат ответа </vt:lpstr>
      <vt:lpstr>Характеристика заданий: уровень сложности </vt:lpstr>
      <vt:lpstr>Характеристика заданий: способ проверки </vt:lpstr>
      <vt:lpstr>Презентация PowerPoint</vt:lpstr>
      <vt:lpstr>Презентация PowerPoint</vt:lpstr>
      <vt:lpstr>Презентация PowerPoint</vt:lpstr>
      <vt:lpstr>Презентация PowerPoint</vt:lpstr>
      <vt:lpstr>Описание основных характеристик заданий по функциональной грамотности для 5 класса: читательская грамотность</vt:lpstr>
      <vt:lpstr>Презентация PowerPoint</vt:lpstr>
      <vt:lpstr>Электронный банк заданий для оценки функциональной грамотност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Victoria Baranova</dc:creator>
  <cp:lastModifiedBy>Проверка2 Пользователь</cp:lastModifiedBy>
  <cp:revision>508</cp:revision>
  <dcterms:created xsi:type="dcterms:W3CDTF">2016-12-10T16:25:45Z</dcterms:created>
  <dcterms:modified xsi:type="dcterms:W3CDTF">2021-09-30T08:31:27Z</dcterms:modified>
</cp:coreProperties>
</file>